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4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11.xml" ContentType="application/vnd.openxmlformats-officedocument.presentationml.tags+xml"/>
  <Override PartName="/ppt/notesSlides/notesSlide24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90" r:id="rId25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247.xml" Id="rId25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7.xml.rels>&#65279;<?xml version="1.0" encoding="utf-8"?><Relationships xmlns="http://schemas.openxmlformats.org/package/2006/relationships"><Relationship Type="http://schemas.openxmlformats.org/officeDocument/2006/relationships/slide" Target="/ppt/slides/slide247.xml" Id="rId2" /><Relationship Type="http://schemas.openxmlformats.org/officeDocument/2006/relationships/notesMaster" Target="/ppt/notesMasters/notesMaster1.xml" Id="rId1" /></Relationships>
</file>

<file path=ppt/notesSlides/notesSlide2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25608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111.xml" Id="rId2" /><Relationship Type="http://schemas.openxmlformats.org/officeDocument/2006/relationships/vmlDrawing" Target="/ppt/drawings/vmlDrawing251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51.bin" Id="rId5" /><Relationship Type="http://schemas.openxmlformats.org/officeDocument/2006/relationships/notesSlide" Target="/ppt/notesSlides/notesSlide247.xml" Id="rId4" /></Relationships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950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8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uzzle pieces</a:t>
            </a:r>
          </a:p>
        </p:txBody>
      </p: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ECFC38D3-B393-11B1-783B-ADE89E0A8760}"/>
              </a:ext>
            </a:extLst>
          </p:cNvPr>
          <p:cNvGrpSpPr>
            <a:grpSpLocks/>
          </p:cNvGrpSpPr>
          <p:nvPr/>
        </p:nvGrpSpPr>
        <p:grpSpPr>
          <a:xfrm>
            <a:off x="403200" y="1557337"/>
            <a:ext cx="7500827" cy="4500563"/>
            <a:chOff x="419100" y="1233488"/>
            <a:chExt cx="8098774" cy="4859337"/>
          </a:xfrm>
        </p:grpSpPr>
        <p:sp>
          <p:nvSpPr>
            <p:cNvPr id="2" name="Freihandform: Form 6">
              <a:extLst>
                <a:ext uri="{FF2B5EF4-FFF2-40B4-BE49-F238E27FC236}">
                  <a16:creationId xmlns:a16="http://schemas.microsoft.com/office/drawing/2014/main" id="{0CAA6BF4-DE9E-B048-214B-1EC14AAEC5DD}"/>
                </a:ext>
              </a:extLst>
            </p:cNvPr>
            <p:cNvSpPr>
              <a:spLocks/>
            </p:cNvSpPr>
            <p:nvPr/>
          </p:nvSpPr>
          <p:spPr>
            <a:xfrm>
              <a:off x="419100" y="1887038"/>
              <a:ext cx="864040" cy="1122688"/>
            </a:xfrm>
            <a:custGeom>
              <a:avLst/>
              <a:gdLst>
                <a:gd name="connsiteX0" fmla="*/ 170 w 1218478"/>
                <a:gd name="connsiteY0" fmla="*/ 220585 h 1583226"/>
                <a:gd name="connsiteX1" fmla="*/ 254588 w 1218478"/>
                <a:gd name="connsiteY1" fmla="*/ 294083 h 1583226"/>
                <a:gd name="connsiteX2" fmla="*/ 452470 w 1218478"/>
                <a:gd name="connsiteY2" fmla="*/ 209277 h 1583226"/>
                <a:gd name="connsiteX3" fmla="*/ 378971 w 1218478"/>
                <a:gd name="connsiteY3" fmla="*/ 73587 h 1583226"/>
                <a:gd name="connsiteX4" fmla="*/ 571198 w 1218478"/>
                <a:gd name="connsiteY4" fmla="*/ 88 h 1583226"/>
                <a:gd name="connsiteX5" fmla="*/ 571368 w 1218478"/>
                <a:gd name="connsiteY5" fmla="*/ 88 h 1583226"/>
                <a:gd name="connsiteX6" fmla="*/ 763596 w 1218478"/>
                <a:gd name="connsiteY6" fmla="*/ 73587 h 1583226"/>
                <a:gd name="connsiteX7" fmla="*/ 690097 w 1218478"/>
                <a:gd name="connsiteY7" fmla="*/ 209277 h 1583226"/>
                <a:gd name="connsiteX8" fmla="*/ 887978 w 1218478"/>
                <a:gd name="connsiteY8" fmla="*/ 294083 h 1583226"/>
                <a:gd name="connsiteX9" fmla="*/ 1142397 w 1218478"/>
                <a:gd name="connsiteY9" fmla="*/ 220585 h 1583226"/>
                <a:gd name="connsiteX10" fmla="*/ 1215726 w 1218478"/>
                <a:gd name="connsiteY10" fmla="*/ 474834 h 1583226"/>
                <a:gd name="connsiteX11" fmla="*/ 1130920 w 1218478"/>
                <a:gd name="connsiteY11" fmla="*/ 672715 h 1583226"/>
                <a:gd name="connsiteX12" fmla="*/ 995230 w 1218478"/>
                <a:gd name="connsiteY12" fmla="*/ 599216 h 1583226"/>
                <a:gd name="connsiteX13" fmla="*/ 921731 w 1218478"/>
                <a:gd name="connsiteY13" fmla="*/ 791444 h 1583226"/>
                <a:gd name="connsiteX14" fmla="*/ 921731 w 1218478"/>
                <a:gd name="connsiteY14" fmla="*/ 791614 h 1583226"/>
                <a:gd name="connsiteX15" fmla="*/ 995230 w 1218478"/>
                <a:gd name="connsiteY15" fmla="*/ 983841 h 1583226"/>
                <a:gd name="connsiteX16" fmla="*/ 1130920 w 1218478"/>
                <a:gd name="connsiteY16" fmla="*/ 910342 h 1583226"/>
                <a:gd name="connsiteX17" fmla="*/ 1215726 w 1218478"/>
                <a:gd name="connsiteY17" fmla="*/ 1108224 h 1583226"/>
                <a:gd name="connsiteX18" fmla="*/ 1142227 w 1218478"/>
                <a:gd name="connsiteY18" fmla="*/ 1362642 h 1583226"/>
                <a:gd name="connsiteX19" fmla="*/ 887809 w 1218478"/>
                <a:gd name="connsiteY19" fmla="*/ 1289144 h 1583226"/>
                <a:gd name="connsiteX20" fmla="*/ 689927 w 1218478"/>
                <a:gd name="connsiteY20" fmla="*/ 1373950 h 1583226"/>
                <a:gd name="connsiteX21" fmla="*/ 763426 w 1218478"/>
                <a:gd name="connsiteY21" fmla="*/ 1509640 h 1583226"/>
                <a:gd name="connsiteX22" fmla="*/ 571198 w 1218478"/>
                <a:gd name="connsiteY22" fmla="*/ 1583139 h 1583226"/>
                <a:gd name="connsiteX23" fmla="*/ 571029 w 1218478"/>
                <a:gd name="connsiteY23" fmla="*/ 1583139 h 1583226"/>
                <a:gd name="connsiteX24" fmla="*/ 378801 w 1218478"/>
                <a:gd name="connsiteY24" fmla="*/ 1509640 h 1583226"/>
                <a:gd name="connsiteX25" fmla="*/ 452300 w 1218478"/>
                <a:gd name="connsiteY25" fmla="*/ 1373950 h 1583226"/>
                <a:gd name="connsiteX26" fmla="*/ 254419 w 1218478"/>
                <a:gd name="connsiteY26" fmla="*/ 1289144 h 1583226"/>
                <a:gd name="connsiteX27" fmla="*/ 0 w 1218478"/>
                <a:gd name="connsiteY27" fmla="*/ 1362642 h 1583226"/>
                <a:gd name="connsiteX28" fmla="*/ 170 w 1218478"/>
                <a:gd name="connsiteY28" fmla="*/ 220585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18478" h="1583226">
                  <a:moveTo>
                    <a:pt x="170" y="220585"/>
                  </a:moveTo>
                  <a:cubicBezTo>
                    <a:pt x="170" y="220585"/>
                    <a:pt x="152821" y="282776"/>
                    <a:pt x="254588" y="294083"/>
                  </a:cubicBezTo>
                  <a:cubicBezTo>
                    <a:pt x="356356" y="305391"/>
                    <a:pt x="452470" y="282776"/>
                    <a:pt x="452470" y="209277"/>
                  </a:cubicBezTo>
                  <a:cubicBezTo>
                    <a:pt x="452470" y="135778"/>
                    <a:pt x="378971" y="152740"/>
                    <a:pt x="378971" y="73587"/>
                  </a:cubicBezTo>
                  <a:cubicBezTo>
                    <a:pt x="378971" y="-5565"/>
                    <a:pt x="571198" y="88"/>
                    <a:pt x="571198" y="88"/>
                  </a:cubicBezTo>
                  <a:lnTo>
                    <a:pt x="571368" y="88"/>
                  </a:lnTo>
                  <a:cubicBezTo>
                    <a:pt x="571368" y="88"/>
                    <a:pt x="763596" y="-5565"/>
                    <a:pt x="763596" y="73587"/>
                  </a:cubicBezTo>
                  <a:cubicBezTo>
                    <a:pt x="763596" y="152740"/>
                    <a:pt x="690097" y="135778"/>
                    <a:pt x="690097" y="209277"/>
                  </a:cubicBezTo>
                  <a:cubicBezTo>
                    <a:pt x="690097" y="282776"/>
                    <a:pt x="786211" y="305391"/>
                    <a:pt x="887978" y="294083"/>
                  </a:cubicBezTo>
                  <a:cubicBezTo>
                    <a:pt x="989746" y="282776"/>
                    <a:pt x="1142397" y="220585"/>
                    <a:pt x="1142397" y="220585"/>
                  </a:cubicBezTo>
                  <a:cubicBezTo>
                    <a:pt x="1142397" y="220585"/>
                    <a:pt x="1204419" y="373066"/>
                    <a:pt x="1215726" y="474834"/>
                  </a:cubicBezTo>
                  <a:cubicBezTo>
                    <a:pt x="1227034" y="576601"/>
                    <a:pt x="1204419" y="672715"/>
                    <a:pt x="1130920" y="672715"/>
                  </a:cubicBezTo>
                  <a:cubicBezTo>
                    <a:pt x="1057421" y="672715"/>
                    <a:pt x="1074382" y="599216"/>
                    <a:pt x="995230" y="599216"/>
                  </a:cubicBezTo>
                  <a:cubicBezTo>
                    <a:pt x="916077" y="599216"/>
                    <a:pt x="921731" y="791444"/>
                    <a:pt x="921731" y="791444"/>
                  </a:cubicBezTo>
                  <a:lnTo>
                    <a:pt x="921731" y="791614"/>
                  </a:lnTo>
                  <a:cubicBezTo>
                    <a:pt x="921731" y="791614"/>
                    <a:pt x="916077" y="983841"/>
                    <a:pt x="995230" y="983841"/>
                  </a:cubicBezTo>
                  <a:cubicBezTo>
                    <a:pt x="1074382" y="983841"/>
                    <a:pt x="1057421" y="910342"/>
                    <a:pt x="1130920" y="910342"/>
                  </a:cubicBezTo>
                  <a:cubicBezTo>
                    <a:pt x="1204419" y="910342"/>
                    <a:pt x="1227034" y="1006456"/>
                    <a:pt x="1215726" y="1108224"/>
                  </a:cubicBezTo>
                  <a:cubicBezTo>
                    <a:pt x="1204419" y="1209991"/>
                    <a:pt x="1142227" y="1362642"/>
                    <a:pt x="1142227" y="1362642"/>
                  </a:cubicBezTo>
                  <a:cubicBezTo>
                    <a:pt x="1142227" y="1362642"/>
                    <a:pt x="989576" y="1300451"/>
                    <a:pt x="887809" y="1289144"/>
                  </a:cubicBezTo>
                  <a:cubicBezTo>
                    <a:pt x="786041" y="1277836"/>
                    <a:pt x="689927" y="1300451"/>
                    <a:pt x="689927" y="1373950"/>
                  </a:cubicBezTo>
                  <a:cubicBezTo>
                    <a:pt x="689927" y="1447449"/>
                    <a:pt x="763426" y="1430487"/>
                    <a:pt x="763426" y="1509640"/>
                  </a:cubicBezTo>
                  <a:cubicBezTo>
                    <a:pt x="763426" y="1588792"/>
                    <a:pt x="571198" y="1583139"/>
                    <a:pt x="571198" y="1583139"/>
                  </a:cubicBezTo>
                  <a:lnTo>
                    <a:pt x="571029" y="1583139"/>
                  </a:lnTo>
                  <a:cubicBezTo>
                    <a:pt x="571029" y="1583139"/>
                    <a:pt x="378801" y="1588792"/>
                    <a:pt x="378801" y="1509640"/>
                  </a:cubicBezTo>
                  <a:cubicBezTo>
                    <a:pt x="378801" y="1430487"/>
                    <a:pt x="452300" y="1447449"/>
                    <a:pt x="452300" y="1373950"/>
                  </a:cubicBezTo>
                  <a:cubicBezTo>
                    <a:pt x="452300" y="1300451"/>
                    <a:pt x="356186" y="1277836"/>
                    <a:pt x="254419" y="1289144"/>
                  </a:cubicBezTo>
                  <a:cubicBezTo>
                    <a:pt x="152651" y="1300451"/>
                    <a:pt x="0" y="1362642"/>
                    <a:pt x="0" y="1362642"/>
                  </a:cubicBezTo>
                  <a:lnTo>
                    <a:pt x="170" y="220585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" name="Freihandform: Form 7">
              <a:extLst>
                <a:ext uri="{FF2B5EF4-FFF2-40B4-BE49-F238E27FC236}">
                  <a16:creationId xmlns:a16="http://schemas.microsoft.com/office/drawing/2014/main" id="{BC9F9353-0A18-030B-0C86-73CE349F4512}"/>
                </a:ext>
              </a:extLst>
            </p:cNvPr>
            <p:cNvSpPr>
              <a:spLocks/>
            </p:cNvSpPr>
            <p:nvPr/>
          </p:nvSpPr>
          <p:spPr>
            <a:xfrm>
              <a:off x="2692349" y="1989387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0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0" y="1150464"/>
                    <a:pt x="984010" y="1071312"/>
                  </a:cubicBezTo>
                  <a:cubicBezTo>
                    <a:pt x="984010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ihandform: Form 8">
              <a:extLst>
                <a:ext uri="{FF2B5EF4-FFF2-40B4-BE49-F238E27FC236}">
                  <a16:creationId xmlns:a16="http://schemas.microsoft.com/office/drawing/2014/main" id="{CD25E779-A733-ACF4-811B-D6961F460D00}"/>
                </a:ext>
              </a:extLst>
            </p:cNvPr>
            <p:cNvSpPr>
              <a:spLocks/>
            </p:cNvSpPr>
            <p:nvPr/>
          </p:nvSpPr>
          <p:spPr>
            <a:xfrm>
              <a:off x="3604547" y="1887038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1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6"/>
                    <a:pt x="14060" y="910512"/>
                    <a:pt x="87559" y="910512"/>
                  </a:cubicBezTo>
                  <a:cubicBezTo>
                    <a:pt x="161058" y="910512"/>
                    <a:pt x="144097" y="984011"/>
                    <a:pt x="223249" y="984011"/>
                  </a:cubicBezTo>
                  <a:cubicBezTo>
                    <a:pt x="302402" y="984011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ihandform: Form 9">
              <a:extLst>
                <a:ext uri="{FF2B5EF4-FFF2-40B4-BE49-F238E27FC236}">
                  <a16:creationId xmlns:a16="http://schemas.microsoft.com/office/drawing/2014/main" id="{297C5452-8BAB-DE6F-7A27-3E577601E663}"/>
                </a:ext>
              </a:extLst>
            </p:cNvPr>
            <p:cNvSpPr>
              <a:spLocks/>
            </p:cNvSpPr>
            <p:nvPr/>
          </p:nvSpPr>
          <p:spPr>
            <a:xfrm>
              <a:off x="7551485" y="1989387"/>
              <a:ext cx="966269" cy="917992"/>
            </a:xfrm>
            <a:custGeom>
              <a:avLst/>
              <a:gdLst>
                <a:gd name="connsiteX0" fmla="*/ 474834 w 1362642"/>
                <a:gd name="connsiteY0" fmla="*/ 2753 h 1294561"/>
                <a:gd name="connsiteX1" fmla="*/ 672715 w 1362642"/>
                <a:gd name="connsiteY1" fmla="*/ 87559 h 1294561"/>
                <a:gd name="connsiteX2" fmla="*/ 599216 w 1362642"/>
                <a:gd name="connsiteY2" fmla="*/ 223249 h 1294561"/>
                <a:gd name="connsiteX3" fmla="*/ 791444 w 1362642"/>
                <a:gd name="connsiteY3" fmla="*/ 296748 h 1294561"/>
                <a:gd name="connsiteX4" fmla="*/ 791614 w 1362642"/>
                <a:gd name="connsiteY4" fmla="*/ 296748 h 1294561"/>
                <a:gd name="connsiteX5" fmla="*/ 983841 w 1362642"/>
                <a:gd name="connsiteY5" fmla="*/ 223249 h 1294561"/>
                <a:gd name="connsiteX6" fmla="*/ 910342 w 1362642"/>
                <a:gd name="connsiteY6" fmla="*/ 87559 h 1294561"/>
                <a:gd name="connsiteX7" fmla="*/ 1108224 w 1362642"/>
                <a:gd name="connsiteY7" fmla="*/ 2753 h 1294561"/>
                <a:gd name="connsiteX8" fmla="*/ 1362642 w 1362642"/>
                <a:gd name="connsiteY8" fmla="*/ 76252 h 1294561"/>
                <a:gd name="connsiteX9" fmla="*/ 1362642 w 1362642"/>
                <a:gd name="connsiteY9" fmla="*/ 1218479 h 1294561"/>
                <a:gd name="connsiteX10" fmla="*/ 1108393 w 1362642"/>
                <a:gd name="connsiteY10" fmla="*/ 1291808 h 1294561"/>
                <a:gd name="connsiteX11" fmla="*/ 910511 w 1362642"/>
                <a:gd name="connsiteY11" fmla="*/ 1207002 h 1294561"/>
                <a:gd name="connsiteX12" fmla="*/ 984010 w 1362642"/>
                <a:gd name="connsiteY12" fmla="*/ 1071312 h 1294561"/>
                <a:gd name="connsiteX13" fmla="*/ 791783 w 1362642"/>
                <a:gd name="connsiteY13" fmla="*/ 997813 h 1294561"/>
                <a:gd name="connsiteX14" fmla="*/ 791614 w 1362642"/>
                <a:gd name="connsiteY14" fmla="*/ 997813 h 1294561"/>
                <a:gd name="connsiteX15" fmla="*/ 599386 w 1362642"/>
                <a:gd name="connsiteY15" fmla="*/ 1071312 h 1294561"/>
                <a:gd name="connsiteX16" fmla="*/ 672885 w 1362642"/>
                <a:gd name="connsiteY16" fmla="*/ 1207002 h 1294561"/>
                <a:gd name="connsiteX17" fmla="*/ 475003 w 1362642"/>
                <a:gd name="connsiteY17" fmla="*/ 1291808 h 1294561"/>
                <a:gd name="connsiteX18" fmla="*/ 220585 w 1362642"/>
                <a:gd name="connsiteY18" fmla="*/ 1218309 h 1294561"/>
                <a:gd name="connsiteX19" fmla="*/ 294083 w 1362642"/>
                <a:gd name="connsiteY19" fmla="*/ 963891 h 1294561"/>
                <a:gd name="connsiteX20" fmla="*/ 209277 w 1362642"/>
                <a:gd name="connsiteY20" fmla="*/ 766009 h 1294561"/>
                <a:gd name="connsiteX21" fmla="*/ 73587 w 1362642"/>
                <a:gd name="connsiteY21" fmla="*/ 839508 h 1294561"/>
                <a:gd name="connsiteX22" fmla="*/ 88 w 1362642"/>
                <a:gd name="connsiteY22" fmla="*/ 647281 h 1294561"/>
                <a:gd name="connsiteX23" fmla="*/ 88 w 1362642"/>
                <a:gd name="connsiteY23" fmla="*/ 647111 h 1294561"/>
                <a:gd name="connsiteX24" fmla="*/ 73587 w 1362642"/>
                <a:gd name="connsiteY24" fmla="*/ 454883 h 1294561"/>
                <a:gd name="connsiteX25" fmla="*/ 209277 w 1362642"/>
                <a:gd name="connsiteY25" fmla="*/ 528382 h 1294561"/>
                <a:gd name="connsiteX26" fmla="*/ 294083 w 1362642"/>
                <a:gd name="connsiteY26" fmla="*/ 330501 h 1294561"/>
                <a:gd name="connsiteX27" fmla="*/ 220585 w 1362642"/>
                <a:gd name="connsiteY27" fmla="*/ 76082 h 1294561"/>
                <a:gd name="connsiteX28" fmla="*/ 474834 w 1362642"/>
                <a:gd name="connsiteY28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62642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lnTo>
                    <a:pt x="1362642" y="1218479"/>
                  </a:lnTo>
                  <a:cubicBezTo>
                    <a:pt x="1362642" y="1218479"/>
                    <a:pt x="1210160" y="1280501"/>
                    <a:pt x="1108393" y="1291808"/>
                  </a:cubicBezTo>
                  <a:cubicBezTo>
                    <a:pt x="1006625" y="1303116"/>
                    <a:pt x="910511" y="1280501"/>
                    <a:pt x="910511" y="1207002"/>
                  </a:cubicBezTo>
                  <a:cubicBezTo>
                    <a:pt x="910511" y="1133503"/>
                    <a:pt x="984010" y="1150464"/>
                    <a:pt x="984010" y="1071312"/>
                  </a:cubicBezTo>
                  <a:cubicBezTo>
                    <a:pt x="984010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ihandform: Form 10">
              <a:extLst>
                <a:ext uri="{FF2B5EF4-FFF2-40B4-BE49-F238E27FC236}">
                  <a16:creationId xmlns:a16="http://schemas.microsoft.com/office/drawing/2014/main" id="{DB157798-77B0-911D-7BD1-4FA6088F13D7}"/>
                </a:ext>
              </a:extLst>
            </p:cNvPr>
            <p:cNvSpPr>
              <a:spLocks/>
            </p:cNvSpPr>
            <p:nvPr/>
          </p:nvSpPr>
          <p:spPr>
            <a:xfrm>
              <a:off x="419221" y="1233488"/>
              <a:ext cx="966269" cy="864040"/>
            </a:xfrm>
            <a:custGeom>
              <a:avLst/>
              <a:gdLst>
                <a:gd name="connsiteX0" fmla="*/ 1142058 w 1362642"/>
                <a:gd name="connsiteY0" fmla="*/ 170 h 1218478"/>
                <a:gd name="connsiteX1" fmla="*/ 1068559 w 1362642"/>
                <a:gd name="connsiteY1" fmla="*/ 254588 h 1218478"/>
                <a:gd name="connsiteX2" fmla="*/ 1153365 w 1362642"/>
                <a:gd name="connsiteY2" fmla="*/ 452470 h 1218478"/>
                <a:gd name="connsiteX3" fmla="*/ 1289055 w 1362642"/>
                <a:gd name="connsiteY3" fmla="*/ 378971 h 1218478"/>
                <a:gd name="connsiteX4" fmla="*/ 1362554 w 1362642"/>
                <a:gd name="connsiteY4" fmla="*/ 571198 h 1218478"/>
                <a:gd name="connsiteX5" fmla="*/ 1362554 w 1362642"/>
                <a:gd name="connsiteY5" fmla="*/ 571368 h 1218478"/>
                <a:gd name="connsiteX6" fmla="*/ 1289055 w 1362642"/>
                <a:gd name="connsiteY6" fmla="*/ 763596 h 1218478"/>
                <a:gd name="connsiteX7" fmla="*/ 1153365 w 1362642"/>
                <a:gd name="connsiteY7" fmla="*/ 690097 h 1218478"/>
                <a:gd name="connsiteX8" fmla="*/ 1068559 w 1362642"/>
                <a:gd name="connsiteY8" fmla="*/ 887978 h 1218478"/>
                <a:gd name="connsiteX9" fmla="*/ 1142058 w 1362642"/>
                <a:gd name="connsiteY9" fmla="*/ 1142397 h 1218478"/>
                <a:gd name="connsiteX10" fmla="*/ 887809 w 1362642"/>
                <a:gd name="connsiteY10" fmla="*/ 1215726 h 1218478"/>
                <a:gd name="connsiteX11" fmla="*/ 689927 w 1362642"/>
                <a:gd name="connsiteY11" fmla="*/ 1130920 h 1218478"/>
                <a:gd name="connsiteX12" fmla="*/ 763426 w 1362642"/>
                <a:gd name="connsiteY12" fmla="*/ 995230 h 1218478"/>
                <a:gd name="connsiteX13" fmla="*/ 571198 w 1362642"/>
                <a:gd name="connsiteY13" fmla="*/ 921731 h 1218478"/>
                <a:gd name="connsiteX14" fmla="*/ 571029 w 1362642"/>
                <a:gd name="connsiteY14" fmla="*/ 921731 h 1218478"/>
                <a:gd name="connsiteX15" fmla="*/ 378801 w 1362642"/>
                <a:gd name="connsiteY15" fmla="*/ 995230 h 1218478"/>
                <a:gd name="connsiteX16" fmla="*/ 452300 w 1362642"/>
                <a:gd name="connsiteY16" fmla="*/ 1130920 h 1218478"/>
                <a:gd name="connsiteX17" fmla="*/ 254419 w 1362642"/>
                <a:gd name="connsiteY17" fmla="*/ 1215726 h 1218478"/>
                <a:gd name="connsiteX18" fmla="*/ 0 w 1362642"/>
                <a:gd name="connsiteY18" fmla="*/ 1142227 h 1218478"/>
                <a:gd name="connsiteX19" fmla="*/ 0 w 1362642"/>
                <a:gd name="connsiteY19" fmla="*/ 0 h 1218478"/>
                <a:gd name="connsiteX20" fmla="*/ 1142058 w 1362642"/>
                <a:gd name="connsiteY20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62642" h="1218478">
                  <a:moveTo>
                    <a:pt x="1142058" y="170"/>
                  </a:moveTo>
                  <a:cubicBezTo>
                    <a:pt x="1142058" y="170"/>
                    <a:pt x="1079867" y="152821"/>
                    <a:pt x="1068559" y="254588"/>
                  </a:cubicBezTo>
                  <a:cubicBezTo>
                    <a:pt x="1057252" y="356356"/>
                    <a:pt x="1079867" y="452470"/>
                    <a:pt x="1153365" y="452470"/>
                  </a:cubicBezTo>
                  <a:cubicBezTo>
                    <a:pt x="1226864" y="452470"/>
                    <a:pt x="1209903" y="378971"/>
                    <a:pt x="1289055" y="378971"/>
                  </a:cubicBezTo>
                  <a:cubicBezTo>
                    <a:pt x="1368208" y="378971"/>
                    <a:pt x="1362554" y="571198"/>
                    <a:pt x="1362554" y="571198"/>
                  </a:cubicBezTo>
                  <a:lnTo>
                    <a:pt x="1362554" y="571368"/>
                  </a:lnTo>
                  <a:cubicBezTo>
                    <a:pt x="1362554" y="571368"/>
                    <a:pt x="1368208" y="763596"/>
                    <a:pt x="1289055" y="763596"/>
                  </a:cubicBezTo>
                  <a:cubicBezTo>
                    <a:pt x="1209903" y="763596"/>
                    <a:pt x="1226864" y="690097"/>
                    <a:pt x="1153365" y="690097"/>
                  </a:cubicBezTo>
                  <a:cubicBezTo>
                    <a:pt x="1079867" y="690097"/>
                    <a:pt x="1057252" y="786211"/>
                    <a:pt x="1068559" y="887978"/>
                  </a:cubicBezTo>
                  <a:cubicBezTo>
                    <a:pt x="1079867" y="989746"/>
                    <a:pt x="1142058" y="1142397"/>
                    <a:pt x="1142058" y="1142397"/>
                  </a:cubicBezTo>
                  <a:cubicBezTo>
                    <a:pt x="1142058" y="1142397"/>
                    <a:pt x="989576" y="1204419"/>
                    <a:pt x="887809" y="1215726"/>
                  </a:cubicBezTo>
                  <a:cubicBezTo>
                    <a:pt x="786041" y="1227034"/>
                    <a:pt x="689927" y="1204419"/>
                    <a:pt x="689927" y="1130920"/>
                  </a:cubicBezTo>
                  <a:cubicBezTo>
                    <a:pt x="689927" y="1057421"/>
                    <a:pt x="763426" y="1074382"/>
                    <a:pt x="763426" y="995230"/>
                  </a:cubicBezTo>
                  <a:cubicBezTo>
                    <a:pt x="763426" y="916077"/>
                    <a:pt x="571198" y="921731"/>
                    <a:pt x="571198" y="921731"/>
                  </a:cubicBezTo>
                  <a:lnTo>
                    <a:pt x="571029" y="921731"/>
                  </a:lnTo>
                  <a:cubicBezTo>
                    <a:pt x="571029" y="921731"/>
                    <a:pt x="378801" y="916077"/>
                    <a:pt x="378801" y="995230"/>
                  </a:cubicBezTo>
                  <a:cubicBezTo>
                    <a:pt x="378801" y="1074382"/>
                    <a:pt x="452300" y="1057421"/>
                    <a:pt x="452300" y="1130920"/>
                  </a:cubicBezTo>
                  <a:cubicBezTo>
                    <a:pt x="452300" y="1204419"/>
                    <a:pt x="356186" y="1227034"/>
                    <a:pt x="254419" y="1215726"/>
                  </a:cubicBezTo>
                  <a:cubicBezTo>
                    <a:pt x="152651" y="1204419"/>
                    <a:pt x="0" y="1142227"/>
                    <a:pt x="0" y="1142227"/>
                  </a:cubicBezTo>
                  <a:lnTo>
                    <a:pt x="0" y="0"/>
                  </a:lnTo>
                  <a:cubicBezTo>
                    <a:pt x="0" y="0"/>
                    <a:pt x="1142058" y="170"/>
                    <a:pt x="1142058" y="170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ihandform: Form 11">
              <a:extLst>
                <a:ext uri="{FF2B5EF4-FFF2-40B4-BE49-F238E27FC236}">
                  <a16:creationId xmlns:a16="http://schemas.microsoft.com/office/drawing/2014/main" id="{DD8D1D8F-3CCD-220F-69A0-5B9B1A5F977E}"/>
                </a:ext>
              </a:extLst>
            </p:cNvPr>
            <p:cNvSpPr>
              <a:spLocks/>
            </p:cNvSpPr>
            <p:nvPr/>
          </p:nvSpPr>
          <p:spPr>
            <a:xfrm>
              <a:off x="2794698" y="1233609"/>
              <a:ext cx="917992" cy="966269"/>
            </a:xfrm>
            <a:custGeom>
              <a:avLst/>
              <a:gdLst>
                <a:gd name="connsiteX0" fmla="*/ 2753 w 1294561"/>
                <a:gd name="connsiteY0" fmla="*/ 887809 h 1362642"/>
                <a:gd name="connsiteX1" fmla="*/ 87559 w 1294561"/>
                <a:gd name="connsiteY1" fmla="*/ 689927 h 1362642"/>
                <a:gd name="connsiteX2" fmla="*/ 223249 w 1294561"/>
                <a:gd name="connsiteY2" fmla="*/ 763426 h 1362642"/>
                <a:gd name="connsiteX3" fmla="*/ 296748 w 1294561"/>
                <a:gd name="connsiteY3" fmla="*/ 571198 h 1362642"/>
                <a:gd name="connsiteX4" fmla="*/ 296748 w 1294561"/>
                <a:gd name="connsiteY4" fmla="*/ 571029 h 1362642"/>
                <a:gd name="connsiteX5" fmla="*/ 223249 w 1294561"/>
                <a:gd name="connsiteY5" fmla="*/ 378801 h 1362642"/>
                <a:gd name="connsiteX6" fmla="*/ 87559 w 1294561"/>
                <a:gd name="connsiteY6" fmla="*/ 452300 h 1362642"/>
                <a:gd name="connsiteX7" fmla="*/ 2753 w 1294561"/>
                <a:gd name="connsiteY7" fmla="*/ 254419 h 1362642"/>
                <a:gd name="connsiteX8" fmla="*/ 76252 w 1294561"/>
                <a:gd name="connsiteY8" fmla="*/ 0 h 1362642"/>
                <a:gd name="connsiteX9" fmla="*/ 1218479 w 1294561"/>
                <a:gd name="connsiteY9" fmla="*/ 0 h 1362642"/>
                <a:gd name="connsiteX10" fmla="*/ 1291808 w 1294561"/>
                <a:gd name="connsiteY10" fmla="*/ 254249 h 1362642"/>
                <a:gd name="connsiteX11" fmla="*/ 1207002 w 1294561"/>
                <a:gd name="connsiteY11" fmla="*/ 452130 h 1362642"/>
                <a:gd name="connsiteX12" fmla="*/ 1071312 w 1294561"/>
                <a:gd name="connsiteY12" fmla="*/ 378632 h 1362642"/>
                <a:gd name="connsiteX13" fmla="*/ 997813 w 1294561"/>
                <a:gd name="connsiteY13" fmla="*/ 570859 h 1362642"/>
                <a:gd name="connsiteX14" fmla="*/ 997813 w 1294561"/>
                <a:gd name="connsiteY14" fmla="*/ 571029 h 1362642"/>
                <a:gd name="connsiteX15" fmla="*/ 1071312 w 1294561"/>
                <a:gd name="connsiteY15" fmla="*/ 763256 h 1362642"/>
                <a:gd name="connsiteX16" fmla="*/ 1207002 w 1294561"/>
                <a:gd name="connsiteY16" fmla="*/ 689758 h 1362642"/>
                <a:gd name="connsiteX17" fmla="*/ 1291808 w 1294561"/>
                <a:gd name="connsiteY17" fmla="*/ 887639 h 1362642"/>
                <a:gd name="connsiteX18" fmla="*/ 1218309 w 1294561"/>
                <a:gd name="connsiteY18" fmla="*/ 1142058 h 1362642"/>
                <a:gd name="connsiteX19" fmla="*/ 963891 w 1294561"/>
                <a:gd name="connsiteY19" fmla="*/ 1068559 h 1362642"/>
                <a:gd name="connsiteX20" fmla="*/ 766009 w 1294561"/>
                <a:gd name="connsiteY20" fmla="*/ 1153365 h 1362642"/>
                <a:gd name="connsiteX21" fmla="*/ 839508 w 1294561"/>
                <a:gd name="connsiteY21" fmla="*/ 1289055 h 1362642"/>
                <a:gd name="connsiteX22" fmla="*/ 647281 w 1294561"/>
                <a:gd name="connsiteY22" fmla="*/ 1362554 h 1362642"/>
                <a:gd name="connsiteX23" fmla="*/ 647111 w 1294561"/>
                <a:gd name="connsiteY23" fmla="*/ 1362554 h 1362642"/>
                <a:gd name="connsiteX24" fmla="*/ 454883 w 1294561"/>
                <a:gd name="connsiteY24" fmla="*/ 1289055 h 1362642"/>
                <a:gd name="connsiteX25" fmla="*/ 528382 w 1294561"/>
                <a:gd name="connsiteY25" fmla="*/ 1153365 h 1362642"/>
                <a:gd name="connsiteX26" fmla="*/ 330501 w 1294561"/>
                <a:gd name="connsiteY26" fmla="*/ 1068559 h 1362642"/>
                <a:gd name="connsiteX27" fmla="*/ 76082 w 1294561"/>
                <a:gd name="connsiteY27" fmla="*/ 1142058 h 1362642"/>
                <a:gd name="connsiteX28" fmla="*/ 2753 w 1294561"/>
                <a:gd name="connsiteY28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80501" y="152482"/>
                    <a:pt x="1291808" y="254249"/>
                  </a:cubicBezTo>
                  <a:cubicBezTo>
                    <a:pt x="1303116" y="356017"/>
                    <a:pt x="1280501" y="452130"/>
                    <a:pt x="1207002" y="452130"/>
                  </a:cubicBezTo>
                  <a:cubicBezTo>
                    <a:pt x="1133503" y="452130"/>
                    <a:pt x="1150464" y="378632"/>
                    <a:pt x="1071312" y="378632"/>
                  </a:cubicBezTo>
                  <a:cubicBezTo>
                    <a:pt x="992159" y="378632"/>
                    <a:pt x="997813" y="570859"/>
                    <a:pt x="997813" y="570859"/>
                  </a:cubicBezTo>
                  <a:lnTo>
                    <a:pt x="997813" y="571029"/>
                  </a:lnTo>
                  <a:cubicBezTo>
                    <a:pt x="997813" y="571029"/>
                    <a:pt x="992159" y="763256"/>
                    <a:pt x="1071312" y="763256"/>
                  </a:cubicBezTo>
                  <a:cubicBezTo>
                    <a:pt x="1150464" y="763256"/>
                    <a:pt x="1133503" y="689758"/>
                    <a:pt x="1207002" y="689758"/>
                  </a:cubicBezTo>
                  <a:cubicBezTo>
                    <a:pt x="1280501" y="689758"/>
                    <a:pt x="1303116" y="785871"/>
                    <a:pt x="1291808" y="887639"/>
                  </a:cubicBezTo>
                  <a:cubicBezTo>
                    <a:pt x="1280501" y="989406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12">
              <a:extLst>
                <a:ext uri="{FF2B5EF4-FFF2-40B4-BE49-F238E27FC236}">
                  <a16:creationId xmlns:a16="http://schemas.microsoft.com/office/drawing/2014/main" id="{5AF5724F-617F-88E6-6496-50EECCF03532}"/>
                </a:ext>
              </a:extLst>
            </p:cNvPr>
            <p:cNvSpPr>
              <a:spLocks/>
            </p:cNvSpPr>
            <p:nvPr/>
          </p:nvSpPr>
          <p:spPr>
            <a:xfrm>
              <a:off x="3502238" y="1233488"/>
              <a:ext cx="1122689" cy="864040"/>
            </a:xfrm>
            <a:custGeom>
              <a:avLst/>
              <a:gdLst>
                <a:gd name="connsiteX0" fmla="*/ 1362642 w 1583227"/>
                <a:gd name="connsiteY0" fmla="*/ 170 h 1218478"/>
                <a:gd name="connsiteX1" fmla="*/ 1289144 w 1583227"/>
                <a:gd name="connsiteY1" fmla="*/ 254588 h 1218478"/>
                <a:gd name="connsiteX2" fmla="*/ 1373950 w 1583227"/>
                <a:gd name="connsiteY2" fmla="*/ 452470 h 1218478"/>
                <a:gd name="connsiteX3" fmla="*/ 1509640 w 1583227"/>
                <a:gd name="connsiteY3" fmla="*/ 378971 h 1218478"/>
                <a:gd name="connsiteX4" fmla="*/ 1583139 w 1583227"/>
                <a:gd name="connsiteY4" fmla="*/ 571198 h 1218478"/>
                <a:gd name="connsiteX5" fmla="*/ 1583139 w 1583227"/>
                <a:gd name="connsiteY5" fmla="*/ 571368 h 1218478"/>
                <a:gd name="connsiteX6" fmla="*/ 1509640 w 1583227"/>
                <a:gd name="connsiteY6" fmla="*/ 763596 h 1218478"/>
                <a:gd name="connsiteX7" fmla="*/ 1373950 w 1583227"/>
                <a:gd name="connsiteY7" fmla="*/ 690097 h 1218478"/>
                <a:gd name="connsiteX8" fmla="*/ 1289144 w 1583227"/>
                <a:gd name="connsiteY8" fmla="*/ 887978 h 1218478"/>
                <a:gd name="connsiteX9" fmla="*/ 1362642 w 1583227"/>
                <a:gd name="connsiteY9" fmla="*/ 1142397 h 1218478"/>
                <a:gd name="connsiteX10" fmla="*/ 1108393 w 1583227"/>
                <a:gd name="connsiteY10" fmla="*/ 1215726 h 1218478"/>
                <a:gd name="connsiteX11" fmla="*/ 910512 w 1583227"/>
                <a:gd name="connsiteY11" fmla="*/ 1130920 h 1218478"/>
                <a:gd name="connsiteX12" fmla="*/ 984011 w 1583227"/>
                <a:gd name="connsiteY12" fmla="*/ 995230 h 1218478"/>
                <a:gd name="connsiteX13" fmla="*/ 791783 w 1583227"/>
                <a:gd name="connsiteY13" fmla="*/ 921731 h 1218478"/>
                <a:gd name="connsiteX14" fmla="*/ 791614 w 1583227"/>
                <a:gd name="connsiteY14" fmla="*/ 921731 h 1218478"/>
                <a:gd name="connsiteX15" fmla="*/ 599386 w 1583227"/>
                <a:gd name="connsiteY15" fmla="*/ 995230 h 1218478"/>
                <a:gd name="connsiteX16" fmla="*/ 672885 w 1583227"/>
                <a:gd name="connsiteY16" fmla="*/ 1130920 h 1218478"/>
                <a:gd name="connsiteX17" fmla="*/ 475003 w 1583227"/>
                <a:gd name="connsiteY17" fmla="*/ 1215726 h 1218478"/>
                <a:gd name="connsiteX18" fmla="*/ 220585 w 1583227"/>
                <a:gd name="connsiteY18" fmla="*/ 1142227 h 1218478"/>
                <a:gd name="connsiteX19" fmla="*/ 294083 w 1583227"/>
                <a:gd name="connsiteY19" fmla="*/ 887809 h 1218478"/>
                <a:gd name="connsiteX20" fmla="*/ 209277 w 1583227"/>
                <a:gd name="connsiteY20" fmla="*/ 689927 h 1218478"/>
                <a:gd name="connsiteX21" fmla="*/ 73587 w 1583227"/>
                <a:gd name="connsiteY21" fmla="*/ 763426 h 1218478"/>
                <a:gd name="connsiteX22" fmla="*/ 88 w 1583227"/>
                <a:gd name="connsiteY22" fmla="*/ 571198 h 1218478"/>
                <a:gd name="connsiteX23" fmla="*/ 88 w 1583227"/>
                <a:gd name="connsiteY23" fmla="*/ 571029 h 1218478"/>
                <a:gd name="connsiteX24" fmla="*/ 73587 w 1583227"/>
                <a:gd name="connsiteY24" fmla="*/ 378801 h 1218478"/>
                <a:gd name="connsiteX25" fmla="*/ 209277 w 1583227"/>
                <a:gd name="connsiteY25" fmla="*/ 452300 h 1218478"/>
                <a:gd name="connsiteX26" fmla="*/ 294083 w 1583227"/>
                <a:gd name="connsiteY26" fmla="*/ 254419 h 1218478"/>
                <a:gd name="connsiteX27" fmla="*/ 220528 w 1583227"/>
                <a:gd name="connsiteY27" fmla="*/ 0 h 1218478"/>
                <a:gd name="connsiteX28" fmla="*/ 1362586 w 1583227"/>
                <a:gd name="connsiteY28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7" h="1218478">
                  <a:moveTo>
                    <a:pt x="1362642" y="170"/>
                  </a:moveTo>
                  <a:cubicBezTo>
                    <a:pt x="1362642" y="170"/>
                    <a:pt x="1300451" y="152821"/>
                    <a:pt x="1289144" y="254588"/>
                  </a:cubicBezTo>
                  <a:cubicBezTo>
                    <a:pt x="1277836" y="356356"/>
                    <a:pt x="1300451" y="452470"/>
                    <a:pt x="1373950" y="452470"/>
                  </a:cubicBezTo>
                  <a:cubicBezTo>
                    <a:pt x="1447449" y="452470"/>
                    <a:pt x="1430487" y="378971"/>
                    <a:pt x="1509640" y="378971"/>
                  </a:cubicBezTo>
                  <a:cubicBezTo>
                    <a:pt x="1588793" y="378971"/>
                    <a:pt x="1583139" y="571198"/>
                    <a:pt x="1583139" y="571198"/>
                  </a:cubicBezTo>
                  <a:lnTo>
                    <a:pt x="1583139" y="571368"/>
                  </a:lnTo>
                  <a:cubicBezTo>
                    <a:pt x="1583139" y="571368"/>
                    <a:pt x="1588793" y="763596"/>
                    <a:pt x="1509640" y="763596"/>
                  </a:cubicBezTo>
                  <a:cubicBezTo>
                    <a:pt x="1430487" y="763596"/>
                    <a:pt x="1447449" y="690097"/>
                    <a:pt x="1373950" y="690097"/>
                  </a:cubicBezTo>
                  <a:cubicBezTo>
                    <a:pt x="1300451" y="690097"/>
                    <a:pt x="1277836" y="786211"/>
                    <a:pt x="1289144" y="887978"/>
                  </a:cubicBezTo>
                  <a:cubicBezTo>
                    <a:pt x="1300451" y="989746"/>
                    <a:pt x="1362642" y="1142397"/>
                    <a:pt x="1362642" y="1142397"/>
                  </a:cubicBezTo>
                  <a:cubicBezTo>
                    <a:pt x="1362642" y="1142397"/>
                    <a:pt x="1210161" y="1204419"/>
                    <a:pt x="1108393" y="1215726"/>
                  </a:cubicBezTo>
                  <a:cubicBezTo>
                    <a:pt x="1006626" y="1227034"/>
                    <a:pt x="910512" y="1204419"/>
                    <a:pt x="910512" y="1130920"/>
                  </a:cubicBezTo>
                  <a:cubicBezTo>
                    <a:pt x="910512" y="1057421"/>
                    <a:pt x="984011" y="1074382"/>
                    <a:pt x="984011" y="995230"/>
                  </a:cubicBezTo>
                  <a:cubicBezTo>
                    <a:pt x="984011" y="916077"/>
                    <a:pt x="791783" y="921731"/>
                    <a:pt x="791783" y="921731"/>
                  </a:cubicBezTo>
                  <a:lnTo>
                    <a:pt x="791614" y="921731"/>
                  </a:lnTo>
                  <a:cubicBezTo>
                    <a:pt x="791614" y="921731"/>
                    <a:pt x="599386" y="916077"/>
                    <a:pt x="599386" y="995230"/>
                  </a:cubicBezTo>
                  <a:cubicBezTo>
                    <a:pt x="599386" y="1074382"/>
                    <a:pt x="672885" y="1057421"/>
                    <a:pt x="672885" y="1130920"/>
                  </a:cubicBezTo>
                  <a:cubicBezTo>
                    <a:pt x="672885" y="1204419"/>
                    <a:pt x="576771" y="1227034"/>
                    <a:pt x="475003" y="1215726"/>
                  </a:cubicBezTo>
                  <a:cubicBezTo>
                    <a:pt x="373236" y="1204419"/>
                    <a:pt x="220585" y="1142227"/>
                    <a:pt x="220585" y="1142227"/>
                  </a:cubicBezTo>
                  <a:cubicBezTo>
                    <a:pt x="220585" y="1142227"/>
                    <a:pt x="282776" y="989576"/>
                    <a:pt x="294083" y="887809"/>
                  </a:cubicBezTo>
                  <a:cubicBezTo>
                    <a:pt x="305391" y="786041"/>
                    <a:pt x="282776" y="689927"/>
                    <a:pt x="209277" y="689927"/>
                  </a:cubicBezTo>
                  <a:cubicBezTo>
                    <a:pt x="135778" y="689927"/>
                    <a:pt x="152740" y="763426"/>
                    <a:pt x="73587" y="763426"/>
                  </a:cubicBezTo>
                  <a:cubicBezTo>
                    <a:pt x="-5565" y="763426"/>
                    <a:pt x="88" y="571198"/>
                    <a:pt x="88" y="571198"/>
                  </a:cubicBezTo>
                  <a:lnTo>
                    <a:pt x="88" y="571029"/>
                  </a:lnTo>
                  <a:cubicBezTo>
                    <a:pt x="88" y="571029"/>
                    <a:pt x="-5565" y="378801"/>
                    <a:pt x="73587" y="378801"/>
                  </a:cubicBezTo>
                  <a:cubicBezTo>
                    <a:pt x="152740" y="378801"/>
                    <a:pt x="135778" y="452300"/>
                    <a:pt x="209277" y="452300"/>
                  </a:cubicBezTo>
                  <a:cubicBezTo>
                    <a:pt x="282776" y="452300"/>
                    <a:pt x="305391" y="356186"/>
                    <a:pt x="294083" y="254419"/>
                  </a:cubicBezTo>
                  <a:cubicBezTo>
                    <a:pt x="282776" y="152651"/>
                    <a:pt x="220528" y="0"/>
                    <a:pt x="220528" y="0"/>
                  </a:cubicBezTo>
                  <a:lnTo>
                    <a:pt x="1362586" y="170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13">
              <a:extLst>
                <a:ext uri="{FF2B5EF4-FFF2-40B4-BE49-F238E27FC236}">
                  <a16:creationId xmlns:a16="http://schemas.microsoft.com/office/drawing/2014/main" id="{9800E3CE-1D74-A54A-AA7D-ABF53BC6FFFB}"/>
                </a:ext>
              </a:extLst>
            </p:cNvPr>
            <p:cNvSpPr>
              <a:spLocks/>
            </p:cNvSpPr>
            <p:nvPr/>
          </p:nvSpPr>
          <p:spPr>
            <a:xfrm>
              <a:off x="7653834" y="1233609"/>
              <a:ext cx="864040" cy="966269"/>
            </a:xfrm>
            <a:custGeom>
              <a:avLst/>
              <a:gdLst>
                <a:gd name="connsiteX0" fmla="*/ 2753 w 1218478"/>
                <a:gd name="connsiteY0" fmla="*/ 887809 h 1362642"/>
                <a:gd name="connsiteX1" fmla="*/ 87559 w 1218478"/>
                <a:gd name="connsiteY1" fmla="*/ 689927 h 1362642"/>
                <a:gd name="connsiteX2" fmla="*/ 223249 w 1218478"/>
                <a:gd name="connsiteY2" fmla="*/ 763426 h 1362642"/>
                <a:gd name="connsiteX3" fmla="*/ 296748 w 1218478"/>
                <a:gd name="connsiteY3" fmla="*/ 571198 h 1362642"/>
                <a:gd name="connsiteX4" fmla="*/ 296748 w 1218478"/>
                <a:gd name="connsiteY4" fmla="*/ 571029 h 1362642"/>
                <a:gd name="connsiteX5" fmla="*/ 223249 w 1218478"/>
                <a:gd name="connsiteY5" fmla="*/ 378801 h 1362642"/>
                <a:gd name="connsiteX6" fmla="*/ 87559 w 1218478"/>
                <a:gd name="connsiteY6" fmla="*/ 452300 h 1362642"/>
                <a:gd name="connsiteX7" fmla="*/ 2753 w 1218478"/>
                <a:gd name="connsiteY7" fmla="*/ 254419 h 1362642"/>
                <a:gd name="connsiteX8" fmla="*/ 76252 w 1218478"/>
                <a:gd name="connsiteY8" fmla="*/ 0 h 1362642"/>
                <a:gd name="connsiteX9" fmla="*/ 1218479 w 1218478"/>
                <a:gd name="connsiteY9" fmla="*/ 0 h 1362642"/>
                <a:gd name="connsiteX10" fmla="*/ 1218309 w 1218478"/>
                <a:gd name="connsiteY10" fmla="*/ 1142058 h 1362642"/>
                <a:gd name="connsiteX11" fmla="*/ 963891 w 1218478"/>
                <a:gd name="connsiteY11" fmla="*/ 1068559 h 1362642"/>
                <a:gd name="connsiteX12" fmla="*/ 766009 w 1218478"/>
                <a:gd name="connsiteY12" fmla="*/ 1153365 h 1362642"/>
                <a:gd name="connsiteX13" fmla="*/ 839508 w 1218478"/>
                <a:gd name="connsiteY13" fmla="*/ 1289055 h 1362642"/>
                <a:gd name="connsiteX14" fmla="*/ 647281 w 1218478"/>
                <a:gd name="connsiteY14" fmla="*/ 1362554 h 1362642"/>
                <a:gd name="connsiteX15" fmla="*/ 647111 w 1218478"/>
                <a:gd name="connsiteY15" fmla="*/ 1362554 h 1362642"/>
                <a:gd name="connsiteX16" fmla="*/ 454883 w 1218478"/>
                <a:gd name="connsiteY16" fmla="*/ 1289055 h 1362642"/>
                <a:gd name="connsiteX17" fmla="*/ 528382 w 1218478"/>
                <a:gd name="connsiteY17" fmla="*/ 1153365 h 1362642"/>
                <a:gd name="connsiteX18" fmla="*/ 330501 w 1218478"/>
                <a:gd name="connsiteY18" fmla="*/ 1068559 h 1362642"/>
                <a:gd name="connsiteX19" fmla="*/ 76082 w 1218478"/>
                <a:gd name="connsiteY19" fmla="*/ 1142058 h 1362642"/>
                <a:gd name="connsiteX20" fmla="*/ 2753 w 1218478"/>
                <a:gd name="connsiteY20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8478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14">
              <a:extLst>
                <a:ext uri="{FF2B5EF4-FFF2-40B4-BE49-F238E27FC236}">
                  <a16:creationId xmlns:a16="http://schemas.microsoft.com/office/drawing/2014/main" id="{451B2237-26E6-8A64-57FC-07BCFF1C5CB2}"/>
                </a:ext>
              </a:extLst>
            </p:cNvPr>
            <p:cNvSpPr>
              <a:spLocks/>
            </p:cNvSpPr>
            <p:nvPr/>
          </p:nvSpPr>
          <p:spPr>
            <a:xfrm>
              <a:off x="1072650" y="1989387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5">
              <a:extLst>
                <a:ext uri="{FF2B5EF4-FFF2-40B4-BE49-F238E27FC236}">
                  <a16:creationId xmlns:a16="http://schemas.microsoft.com/office/drawing/2014/main" id="{F2A02ABF-2FDE-0073-F450-2FDE61F22A2F}"/>
                </a:ext>
              </a:extLst>
            </p:cNvPr>
            <p:cNvSpPr>
              <a:spLocks/>
            </p:cNvSpPr>
            <p:nvPr/>
          </p:nvSpPr>
          <p:spPr>
            <a:xfrm>
              <a:off x="1984848" y="1887038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1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10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6"/>
                    <a:pt x="14060" y="910512"/>
                    <a:pt x="87559" y="910512"/>
                  </a:cubicBezTo>
                  <a:cubicBezTo>
                    <a:pt x="161058" y="910512"/>
                    <a:pt x="144097" y="984011"/>
                    <a:pt x="223249" y="984011"/>
                  </a:cubicBezTo>
                  <a:cubicBezTo>
                    <a:pt x="302402" y="984011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5" y="599216"/>
                    <a:pt x="1071312" y="599216"/>
                  </a:cubicBezTo>
                  <a:cubicBezTo>
                    <a:pt x="992160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60" y="983841"/>
                    <a:pt x="1071312" y="983841"/>
                  </a:cubicBezTo>
                  <a:cubicBezTo>
                    <a:pt x="1150465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10" y="1362642"/>
                    <a:pt x="1218310" y="1362642"/>
                  </a:cubicBezTo>
                  <a:cubicBezTo>
                    <a:pt x="1218310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6">
              <a:extLst>
                <a:ext uri="{FF2B5EF4-FFF2-40B4-BE49-F238E27FC236}">
                  <a16:creationId xmlns:a16="http://schemas.microsoft.com/office/drawing/2014/main" id="{F770A345-05E2-7EC8-4338-5D9B615C885B}"/>
                </a:ext>
              </a:extLst>
            </p:cNvPr>
            <p:cNvSpPr>
              <a:spLocks/>
            </p:cNvSpPr>
            <p:nvPr/>
          </p:nvSpPr>
          <p:spPr>
            <a:xfrm>
              <a:off x="7653713" y="2696888"/>
              <a:ext cx="864041" cy="1122689"/>
            </a:xfrm>
            <a:custGeom>
              <a:avLst/>
              <a:gdLst>
                <a:gd name="connsiteX0" fmla="*/ 1218309 w 1218479"/>
                <a:gd name="connsiteY0" fmla="*/ 220585 h 1583227"/>
                <a:gd name="connsiteX1" fmla="*/ 963891 w 1218479"/>
                <a:gd name="connsiteY1" fmla="*/ 294083 h 1583227"/>
                <a:gd name="connsiteX2" fmla="*/ 766009 w 1218479"/>
                <a:gd name="connsiteY2" fmla="*/ 209277 h 1583227"/>
                <a:gd name="connsiteX3" fmla="*/ 839508 w 1218479"/>
                <a:gd name="connsiteY3" fmla="*/ 73587 h 1583227"/>
                <a:gd name="connsiteX4" fmla="*/ 647281 w 1218479"/>
                <a:gd name="connsiteY4" fmla="*/ 88 h 1583227"/>
                <a:gd name="connsiteX5" fmla="*/ 647111 w 1218479"/>
                <a:gd name="connsiteY5" fmla="*/ 88 h 1583227"/>
                <a:gd name="connsiteX6" fmla="*/ 454883 w 1218479"/>
                <a:gd name="connsiteY6" fmla="*/ 73587 h 1583227"/>
                <a:gd name="connsiteX7" fmla="*/ 528382 w 1218479"/>
                <a:gd name="connsiteY7" fmla="*/ 209277 h 1583227"/>
                <a:gd name="connsiteX8" fmla="*/ 330501 w 1218479"/>
                <a:gd name="connsiteY8" fmla="*/ 294083 h 1583227"/>
                <a:gd name="connsiteX9" fmla="*/ 76082 w 1218479"/>
                <a:gd name="connsiteY9" fmla="*/ 220585 h 1583227"/>
                <a:gd name="connsiteX10" fmla="*/ 2753 w 1218479"/>
                <a:gd name="connsiteY10" fmla="*/ 474834 h 1583227"/>
                <a:gd name="connsiteX11" fmla="*/ 87559 w 1218479"/>
                <a:gd name="connsiteY11" fmla="*/ 672715 h 1583227"/>
                <a:gd name="connsiteX12" fmla="*/ 223249 w 1218479"/>
                <a:gd name="connsiteY12" fmla="*/ 599216 h 1583227"/>
                <a:gd name="connsiteX13" fmla="*/ 296748 w 1218479"/>
                <a:gd name="connsiteY13" fmla="*/ 791444 h 1583227"/>
                <a:gd name="connsiteX14" fmla="*/ 296748 w 1218479"/>
                <a:gd name="connsiteY14" fmla="*/ 791614 h 1583227"/>
                <a:gd name="connsiteX15" fmla="*/ 223249 w 1218479"/>
                <a:gd name="connsiteY15" fmla="*/ 983841 h 1583227"/>
                <a:gd name="connsiteX16" fmla="*/ 87559 w 1218479"/>
                <a:gd name="connsiteY16" fmla="*/ 910342 h 1583227"/>
                <a:gd name="connsiteX17" fmla="*/ 2753 w 1218479"/>
                <a:gd name="connsiteY17" fmla="*/ 1108224 h 1583227"/>
                <a:gd name="connsiteX18" fmla="*/ 76252 w 1218479"/>
                <a:gd name="connsiteY18" fmla="*/ 1362643 h 1583227"/>
                <a:gd name="connsiteX19" fmla="*/ 330670 w 1218479"/>
                <a:gd name="connsiteY19" fmla="*/ 1289144 h 1583227"/>
                <a:gd name="connsiteX20" fmla="*/ 528552 w 1218479"/>
                <a:gd name="connsiteY20" fmla="*/ 1373950 h 1583227"/>
                <a:gd name="connsiteX21" fmla="*/ 455053 w 1218479"/>
                <a:gd name="connsiteY21" fmla="*/ 1509640 h 1583227"/>
                <a:gd name="connsiteX22" fmla="*/ 647281 w 1218479"/>
                <a:gd name="connsiteY22" fmla="*/ 1583139 h 1583227"/>
                <a:gd name="connsiteX23" fmla="*/ 647450 w 1218479"/>
                <a:gd name="connsiteY23" fmla="*/ 1583139 h 1583227"/>
                <a:gd name="connsiteX24" fmla="*/ 839678 w 1218479"/>
                <a:gd name="connsiteY24" fmla="*/ 1509640 h 1583227"/>
                <a:gd name="connsiteX25" fmla="*/ 766179 w 1218479"/>
                <a:gd name="connsiteY25" fmla="*/ 1373950 h 1583227"/>
                <a:gd name="connsiteX26" fmla="*/ 964060 w 1218479"/>
                <a:gd name="connsiteY26" fmla="*/ 1289144 h 1583227"/>
                <a:gd name="connsiteX27" fmla="*/ 1218479 w 1218479"/>
                <a:gd name="connsiteY27" fmla="*/ 1362643 h 1583227"/>
                <a:gd name="connsiteX28" fmla="*/ 1218309 w 1218479"/>
                <a:gd name="connsiteY28" fmla="*/ 220585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18479" h="1583227">
                  <a:moveTo>
                    <a:pt x="1218309" y="220585"/>
                  </a:move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lnTo>
                    <a:pt x="1218309" y="220585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7">
              <a:extLst>
                <a:ext uri="{FF2B5EF4-FFF2-40B4-BE49-F238E27FC236}">
                  <a16:creationId xmlns:a16="http://schemas.microsoft.com/office/drawing/2014/main" id="{719FF2C1-5D30-3FC4-1FCC-8E3B776960AE}"/>
                </a:ext>
              </a:extLst>
            </p:cNvPr>
            <p:cNvSpPr>
              <a:spLocks/>
            </p:cNvSpPr>
            <p:nvPr/>
          </p:nvSpPr>
          <p:spPr>
            <a:xfrm>
              <a:off x="1882420" y="2799236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0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10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5"/>
                    <a:pt x="599216" y="1071312"/>
                  </a:cubicBezTo>
                  <a:cubicBezTo>
                    <a:pt x="599216" y="992160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60"/>
                    <a:pt x="983841" y="1071312"/>
                  </a:cubicBezTo>
                  <a:cubicBezTo>
                    <a:pt x="983841" y="1150465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10"/>
                    <a:pt x="1362642" y="1218310"/>
                  </a:cubicBezTo>
                  <a:cubicBezTo>
                    <a:pt x="1362642" y="1218310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18">
              <a:extLst>
                <a:ext uri="{FF2B5EF4-FFF2-40B4-BE49-F238E27FC236}">
                  <a16:creationId xmlns:a16="http://schemas.microsoft.com/office/drawing/2014/main" id="{47A03231-3906-E0FC-5AAA-B2DE5E802A78}"/>
                </a:ext>
              </a:extLst>
            </p:cNvPr>
            <p:cNvSpPr>
              <a:spLocks/>
            </p:cNvSpPr>
            <p:nvPr/>
          </p:nvSpPr>
          <p:spPr>
            <a:xfrm>
              <a:off x="1174878" y="2696888"/>
              <a:ext cx="917992" cy="1122689"/>
            </a:xfrm>
            <a:custGeom>
              <a:avLst/>
              <a:gdLst>
                <a:gd name="connsiteX0" fmla="*/ 1291808 w 1294561"/>
                <a:gd name="connsiteY0" fmla="*/ 1108393 h 1583227"/>
                <a:gd name="connsiteX1" fmla="*/ 1207002 w 1294561"/>
                <a:gd name="connsiteY1" fmla="*/ 910512 h 1583227"/>
                <a:gd name="connsiteX2" fmla="*/ 1071312 w 1294561"/>
                <a:gd name="connsiteY2" fmla="*/ 984011 h 1583227"/>
                <a:gd name="connsiteX3" fmla="*/ 997813 w 1294561"/>
                <a:gd name="connsiteY3" fmla="*/ 791783 h 1583227"/>
                <a:gd name="connsiteX4" fmla="*/ 997813 w 1294561"/>
                <a:gd name="connsiteY4" fmla="*/ 791614 h 1583227"/>
                <a:gd name="connsiteX5" fmla="*/ 1071312 w 1294561"/>
                <a:gd name="connsiteY5" fmla="*/ 599386 h 1583227"/>
                <a:gd name="connsiteX6" fmla="*/ 1207002 w 1294561"/>
                <a:gd name="connsiteY6" fmla="*/ 672885 h 1583227"/>
                <a:gd name="connsiteX7" fmla="*/ 1291808 w 1294561"/>
                <a:gd name="connsiteY7" fmla="*/ 475003 h 1583227"/>
                <a:gd name="connsiteX8" fmla="*/ 1218309 w 1294561"/>
                <a:gd name="connsiteY8" fmla="*/ 220585 h 1583227"/>
                <a:gd name="connsiteX9" fmla="*/ 963891 w 1294561"/>
                <a:gd name="connsiteY9" fmla="*/ 294083 h 1583227"/>
                <a:gd name="connsiteX10" fmla="*/ 766009 w 1294561"/>
                <a:gd name="connsiteY10" fmla="*/ 209277 h 1583227"/>
                <a:gd name="connsiteX11" fmla="*/ 839508 w 1294561"/>
                <a:gd name="connsiteY11" fmla="*/ 73587 h 1583227"/>
                <a:gd name="connsiteX12" fmla="*/ 647281 w 1294561"/>
                <a:gd name="connsiteY12" fmla="*/ 88 h 1583227"/>
                <a:gd name="connsiteX13" fmla="*/ 647111 w 1294561"/>
                <a:gd name="connsiteY13" fmla="*/ 88 h 1583227"/>
                <a:gd name="connsiteX14" fmla="*/ 454883 w 1294561"/>
                <a:gd name="connsiteY14" fmla="*/ 73587 h 1583227"/>
                <a:gd name="connsiteX15" fmla="*/ 528382 w 1294561"/>
                <a:gd name="connsiteY15" fmla="*/ 209277 h 1583227"/>
                <a:gd name="connsiteX16" fmla="*/ 330501 w 1294561"/>
                <a:gd name="connsiteY16" fmla="*/ 294083 h 1583227"/>
                <a:gd name="connsiteX17" fmla="*/ 76082 w 1294561"/>
                <a:gd name="connsiteY17" fmla="*/ 220585 h 1583227"/>
                <a:gd name="connsiteX18" fmla="*/ 2753 w 1294561"/>
                <a:gd name="connsiteY18" fmla="*/ 474834 h 1583227"/>
                <a:gd name="connsiteX19" fmla="*/ 87559 w 1294561"/>
                <a:gd name="connsiteY19" fmla="*/ 672715 h 1583227"/>
                <a:gd name="connsiteX20" fmla="*/ 223249 w 1294561"/>
                <a:gd name="connsiteY20" fmla="*/ 599216 h 1583227"/>
                <a:gd name="connsiteX21" fmla="*/ 296748 w 1294561"/>
                <a:gd name="connsiteY21" fmla="*/ 791444 h 1583227"/>
                <a:gd name="connsiteX22" fmla="*/ 296748 w 1294561"/>
                <a:gd name="connsiteY22" fmla="*/ 791614 h 1583227"/>
                <a:gd name="connsiteX23" fmla="*/ 223249 w 1294561"/>
                <a:gd name="connsiteY23" fmla="*/ 983841 h 1583227"/>
                <a:gd name="connsiteX24" fmla="*/ 87559 w 1294561"/>
                <a:gd name="connsiteY24" fmla="*/ 910342 h 1583227"/>
                <a:gd name="connsiteX25" fmla="*/ 2753 w 1294561"/>
                <a:gd name="connsiteY25" fmla="*/ 1108224 h 1583227"/>
                <a:gd name="connsiteX26" fmla="*/ 76252 w 1294561"/>
                <a:gd name="connsiteY26" fmla="*/ 1362643 h 1583227"/>
                <a:gd name="connsiteX27" fmla="*/ 330670 w 1294561"/>
                <a:gd name="connsiteY27" fmla="*/ 1289144 h 1583227"/>
                <a:gd name="connsiteX28" fmla="*/ 528552 w 1294561"/>
                <a:gd name="connsiteY28" fmla="*/ 1373950 h 1583227"/>
                <a:gd name="connsiteX29" fmla="*/ 455053 w 1294561"/>
                <a:gd name="connsiteY29" fmla="*/ 1509640 h 1583227"/>
                <a:gd name="connsiteX30" fmla="*/ 647281 w 1294561"/>
                <a:gd name="connsiteY30" fmla="*/ 1583139 h 1583227"/>
                <a:gd name="connsiteX31" fmla="*/ 647450 w 1294561"/>
                <a:gd name="connsiteY31" fmla="*/ 1583139 h 1583227"/>
                <a:gd name="connsiteX32" fmla="*/ 839678 w 1294561"/>
                <a:gd name="connsiteY32" fmla="*/ 1509640 h 1583227"/>
                <a:gd name="connsiteX33" fmla="*/ 766179 w 1294561"/>
                <a:gd name="connsiteY33" fmla="*/ 1373950 h 1583227"/>
                <a:gd name="connsiteX34" fmla="*/ 964060 w 1294561"/>
                <a:gd name="connsiteY34" fmla="*/ 1289144 h 1583227"/>
                <a:gd name="connsiteX35" fmla="*/ 1218479 w 1294561"/>
                <a:gd name="connsiteY35" fmla="*/ 1362643 h 1583227"/>
                <a:gd name="connsiteX36" fmla="*/ 1291808 w 1294561"/>
                <a:gd name="connsiteY36" fmla="*/ 1108393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7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cubicBezTo>
                    <a:pt x="1218479" y="1362643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19">
              <a:extLst>
                <a:ext uri="{FF2B5EF4-FFF2-40B4-BE49-F238E27FC236}">
                  <a16:creationId xmlns:a16="http://schemas.microsoft.com/office/drawing/2014/main" id="{EC3946E6-3E4C-0713-2132-24C58EC750FB}"/>
                </a:ext>
              </a:extLst>
            </p:cNvPr>
            <p:cNvSpPr>
              <a:spLocks/>
            </p:cNvSpPr>
            <p:nvPr/>
          </p:nvSpPr>
          <p:spPr>
            <a:xfrm>
              <a:off x="419100" y="2799236"/>
              <a:ext cx="966269" cy="917992"/>
            </a:xfrm>
            <a:custGeom>
              <a:avLst/>
              <a:gdLst>
                <a:gd name="connsiteX0" fmla="*/ 887809 w 1362642"/>
                <a:gd name="connsiteY0" fmla="*/ 2753 h 1294561"/>
                <a:gd name="connsiteX1" fmla="*/ 689927 w 1362642"/>
                <a:gd name="connsiteY1" fmla="*/ 87559 h 1294561"/>
                <a:gd name="connsiteX2" fmla="*/ 763426 w 1362642"/>
                <a:gd name="connsiteY2" fmla="*/ 223249 h 1294561"/>
                <a:gd name="connsiteX3" fmla="*/ 571198 w 1362642"/>
                <a:gd name="connsiteY3" fmla="*/ 296748 h 1294561"/>
                <a:gd name="connsiteX4" fmla="*/ 571029 w 1362642"/>
                <a:gd name="connsiteY4" fmla="*/ 296748 h 1294561"/>
                <a:gd name="connsiteX5" fmla="*/ 378801 w 1362642"/>
                <a:gd name="connsiteY5" fmla="*/ 223249 h 1294561"/>
                <a:gd name="connsiteX6" fmla="*/ 452300 w 1362642"/>
                <a:gd name="connsiteY6" fmla="*/ 87559 h 1294561"/>
                <a:gd name="connsiteX7" fmla="*/ 254419 w 1362642"/>
                <a:gd name="connsiteY7" fmla="*/ 2753 h 1294561"/>
                <a:gd name="connsiteX8" fmla="*/ 0 w 1362642"/>
                <a:gd name="connsiteY8" fmla="*/ 76252 h 1294561"/>
                <a:gd name="connsiteX9" fmla="*/ 0 w 1362642"/>
                <a:gd name="connsiteY9" fmla="*/ 1218479 h 1294561"/>
                <a:gd name="connsiteX10" fmla="*/ 254249 w 1362642"/>
                <a:gd name="connsiteY10" fmla="*/ 1291808 h 1294561"/>
                <a:gd name="connsiteX11" fmla="*/ 452130 w 1362642"/>
                <a:gd name="connsiteY11" fmla="*/ 1207002 h 1294561"/>
                <a:gd name="connsiteX12" fmla="*/ 378632 w 1362642"/>
                <a:gd name="connsiteY12" fmla="*/ 1071312 h 1294561"/>
                <a:gd name="connsiteX13" fmla="*/ 570859 w 1362642"/>
                <a:gd name="connsiteY13" fmla="*/ 997813 h 1294561"/>
                <a:gd name="connsiteX14" fmla="*/ 571029 w 1362642"/>
                <a:gd name="connsiteY14" fmla="*/ 997813 h 1294561"/>
                <a:gd name="connsiteX15" fmla="*/ 763256 w 1362642"/>
                <a:gd name="connsiteY15" fmla="*/ 1071312 h 1294561"/>
                <a:gd name="connsiteX16" fmla="*/ 689758 w 1362642"/>
                <a:gd name="connsiteY16" fmla="*/ 1207002 h 1294561"/>
                <a:gd name="connsiteX17" fmla="*/ 887639 w 1362642"/>
                <a:gd name="connsiteY17" fmla="*/ 1291808 h 1294561"/>
                <a:gd name="connsiteX18" fmla="*/ 1142058 w 1362642"/>
                <a:gd name="connsiteY18" fmla="*/ 1218310 h 1294561"/>
                <a:gd name="connsiteX19" fmla="*/ 1068559 w 1362642"/>
                <a:gd name="connsiteY19" fmla="*/ 963891 h 1294561"/>
                <a:gd name="connsiteX20" fmla="*/ 1153365 w 1362642"/>
                <a:gd name="connsiteY20" fmla="*/ 766009 h 1294561"/>
                <a:gd name="connsiteX21" fmla="*/ 1289055 w 1362642"/>
                <a:gd name="connsiteY21" fmla="*/ 839508 h 1294561"/>
                <a:gd name="connsiteX22" fmla="*/ 1362554 w 1362642"/>
                <a:gd name="connsiteY22" fmla="*/ 647281 h 1294561"/>
                <a:gd name="connsiteX23" fmla="*/ 1362554 w 1362642"/>
                <a:gd name="connsiteY23" fmla="*/ 647111 h 1294561"/>
                <a:gd name="connsiteX24" fmla="*/ 1289055 w 1362642"/>
                <a:gd name="connsiteY24" fmla="*/ 454883 h 1294561"/>
                <a:gd name="connsiteX25" fmla="*/ 1153365 w 1362642"/>
                <a:gd name="connsiteY25" fmla="*/ 528382 h 1294561"/>
                <a:gd name="connsiteX26" fmla="*/ 1068559 w 1362642"/>
                <a:gd name="connsiteY26" fmla="*/ 330501 h 1294561"/>
                <a:gd name="connsiteX27" fmla="*/ 1142058 w 1362642"/>
                <a:gd name="connsiteY27" fmla="*/ 76082 h 1294561"/>
                <a:gd name="connsiteX28" fmla="*/ 887809 w 1362642"/>
                <a:gd name="connsiteY28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62642" h="1294561">
                  <a:moveTo>
                    <a:pt x="887809" y="2753"/>
                  </a:moveTo>
                  <a:cubicBezTo>
                    <a:pt x="786041" y="-8555"/>
                    <a:pt x="689927" y="14060"/>
                    <a:pt x="689927" y="87559"/>
                  </a:cubicBezTo>
                  <a:cubicBezTo>
                    <a:pt x="689927" y="161058"/>
                    <a:pt x="763426" y="144097"/>
                    <a:pt x="763426" y="223249"/>
                  </a:cubicBezTo>
                  <a:cubicBezTo>
                    <a:pt x="763426" y="302402"/>
                    <a:pt x="571198" y="296748"/>
                    <a:pt x="571198" y="296748"/>
                  </a:cubicBezTo>
                  <a:lnTo>
                    <a:pt x="571029" y="296748"/>
                  </a:lnTo>
                  <a:cubicBezTo>
                    <a:pt x="571029" y="296748"/>
                    <a:pt x="378801" y="302402"/>
                    <a:pt x="378801" y="223249"/>
                  </a:cubicBezTo>
                  <a:cubicBezTo>
                    <a:pt x="378801" y="144097"/>
                    <a:pt x="452300" y="161058"/>
                    <a:pt x="452300" y="87559"/>
                  </a:cubicBezTo>
                  <a:cubicBezTo>
                    <a:pt x="452300" y="14060"/>
                    <a:pt x="356186" y="-8555"/>
                    <a:pt x="254419" y="2753"/>
                  </a:cubicBezTo>
                  <a:cubicBezTo>
                    <a:pt x="152651" y="14060"/>
                    <a:pt x="0" y="76252"/>
                    <a:pt x="0" y="76252"/>
                  </a:cubicBezTo>
                  <a:lnTo>
                    <a:pt x="0" y="1218479"/>
                  </a:lnTo>
                  <a:cubicBezTo>
                    <a:pt x="0" y="1218479"/>
                    <a:pt x="152482" y="1280501"/>
                    <a:pt x="254249" y="1291808"/>
                  </a:cubicBezTo>
                  <a:cubicBezTo>
                    <a:pt x="356017" y="1303116"/>
                    <a:pt x="452130" y="1280501"/>
                    <a:pt x="452130" y="1207002"/>
                  </a:cubicBezTo>
                  <a:cubicBezTo>
                    <a:pt x="452130" y="1133503"/>
                    <a:pt x="378632" y="1150465"/>
                    <a:pt x="378632" y="1071312"/>
                  </a:cubicBezTo>
                  <a:cubicBezTo>
                    <a:pt x="378632" y="992160"/>
                    <a:pt x="570859" y="997813"/>
                    <a:pt x="570859" y="997813"/>
                  </a:cubicBezTo>
                  <a:lnTo>
                    <a:pt x="571029" y="997813"/>
                  </a:lnTo>
                  <a:cubicBezTo>
                    <a:pt x="571029" y="997813"/>
                    <a:pt x="763256" y="992160"/>
                    <a:pt x="763256" y="1071312"/>
                  </a:cubicBezTo>
                  <a:cubicBezTo>
                    <a:pt x="763256" y="1150465"/>
                    <a:pt x="689758" y="1133503"/>
                    <a:pt x="689758" y="1207002"/>
                  </a:cubicBezTo>
                  <a:cubicBezTo>
                    <a:pt x="689758" y="1280501"/>
                    <a:pt x="785871" y="1303116"/>
                    <a:pt x="887639" y="1291808"/>
                  </a:cubicBezTo>
                  <a:cubicBezTo>
                    <a:pt x="989406" y="1280501"/>
                    <a:pt x="1142058" y="1218310"/>
                    <a:pt x="1142058" y="1218310"/>
                  </a:cubicBezTo>
                  <a:cubicBezTo>
                    <a:pt x="1142058" y="1218310"/>
                    <a:pt x="1079867" y="1065658"/>
                    <a:pt x="1068559" y="963891"/>
                  </a:cubicBezTo>
                  <a:cubicBezTo>
                    <a:pt x="1057252" y="862123"/>
                    <a:pt x="1079867" y="766009"/>
                    <a:pt x="1153365" y="766009"/>
                  </a:cubicBezTo>
                  <a:cubicBezTo>
                    <a:pt x="1226864" y="766009"/>
                    <a:pt x="1209903" y="839508"/>
                    <a:pt x="1289055" y="839508"/>
                  </a:cubicBezTo>
                  <a:cubicBezTo>
                    <a:pt x="1368208" y="839508"/>
                    <a:pt x="1362554" y="647281"/>
                    <a:pt x="1362554" y="647281"/>
                  </a:cubicBezTo>
                  <a:lnTo>
                    <a:pt x="1362554" y="647111"/>
                  </a:lnTo>
                  <a:cubicBezTo>
                    <a:pt x="1362554" y="647111"/>
                    <a:pt x="1368208" y="454883"/>
                    <a:pt x="1289055" y="454883"/>
                  </a:cubicBezTo>
                  <a:cubicBezTo>
                    <a:pt x="1209903" y="454883"/>
                    <a:pt x="1226864" y="528382"/>
                    <a:pt x="1153365" y="528382"/>
                  </a:cubicBezTo>
                  <a:cubicBezTo>
                    <a:pt x="1079867" y="528382"/>
                    <a:pt x="1057252" y="432268"/>
                    <a:pt x="1068559" y="330501"/>
                  </a:cubicBezTo>
                  <a:cubicBezTo>
                    <a:pt x="1079867" y="228733"/>
                    <a:pt x="1142058" y="76082"/>
                    <a:pt x="1142058" y="76082"/>
                  </a:cubicBezTo>
                  <a:cubicBezTo>
                    <a:pt x="1142058" y="76082"/>
                    <a:pt x="989576" y="14060"/>
                    <a:pt x="887809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ihandform: Form 20">
              <a:extLst>
                <a:ext uri="{FF2B5EF4-FFF2-40B4-BE49-F238E27FC236}">
                  <a16:creationId xmlns:a16="http://schemas.microsoft.com/office/drawing/2014/main" id="{508858C1-61EC-96C1-0CB4-9E661FDDD839}"/>
                </a:ext>
              </a:extLst>
            </p:cNvPr>
            <p:cNvSpPr>
              <a:spLocks/>
            </p:cNvSpPr>
            <p:nvPr/>
          </p:nvSpPr>
          <p:spPr>
            <a:xfrm>
              <a:off x="3502118" y="2799236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0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10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5"/>
                    <a:pt x="599216" y="1071312"/>
                  </a:cubicBezTo>
                  <a:cubicBezTo>
                    <a:pt x="599216" y="992160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60"/>
                    <a:pt x="983841" y="1071312"/>
                  </a:cubicBezTo>
                  <a:cubicBezTo>
                    <a:pt x="983841" y="1150465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10"/>
                    <a:pt x="1362642" y="1218310"/>
                  </a:cubicBezTo>
                  <a:cubicBezTo>
                    <a:pt x="1362642" y="1218310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ihandform: Form 21">
              <a:extLst>
                <a:ext uri="{FF2B5EF4-FFF2-40B4-BE49-F238E27FC236}">
                  <a16:creationId xmlns:a16="http://schemas.microsoft.com/office/drawing/2014/main" id="{C26EAA86-5B8F-8D11-82B7-EFD353A3DE55}"/>
                </a:ext>
              </a:extLst>
            </p:cNvPr>
            <p:cNvSpPr>
              <a:spLocks/>
            </p:cNvSpPr>
            <p:nvPr/>
          </p:nvSpPr>
          <p:spPr>
            <a:xfrm>
              <a:off x="2794577" y="2696888"/>
              <a:ext cx="917992" cy="1122689"/>
            </a:xfrm>
            <a:custGeom>
              <a:avLst/>
              <a:gdLst>
                <a:gd name="connsiteX0" fmla="*/ 1291808 w 1294561"/>
                <a:gd name="connsiteY0" fmla="*/ 1108393 h 1583227"/>
                <a:gd name="connsiteX1" fmla="*/ 1207002 w 1294561"/>
                <a:gd name="connsiteY1" fmla="*/ 910512 h 1583227"/>
                <a:gd name="connsiteX2" fmla="*/ 1071312 w 1294561"/>
                <a:gd name="connsiteY2" fmla="*/ 984011 h 1583227"/>
                <a:gd name="connsiteX3" fmla="*/ 997813 w 1294561"/>
                <a:gd name="connsiteY3" fmla="*/ 791783 h 1583227"/>
                <a:gd name="connsiteX4" fmla="*/ 997813 w 1294561"/>
                <a:gd name="connsiteY4" fmla="*/ 791614 h 1583227"/>
                <a:gd name="connsiteX5" fmla="*/ 1071312 w 1294561"/>
                <a:gd name="connsiteY5" fmla="*/ 599386 h 1583227"/>
                <a:gd name="connsiteX6" fmla="*/ 1207002 w 1294561"/>
                <a:gd name="connsiteY6" fmla="*/ 672885 h 1583227"/>
                <a:gd name="connsiteX7" fmla="*/ 1291808 w 1294561"/>
                <a:gd name="connsiteY7" fmla="*/ 475003 h 1583227"/>
                <a:gd name="connsiteX8" fmla="*/ 1218309 w 1294561"/>
                <a:gd name="connsiteY8" fmla="*/ 220585 h 1583227"/>
                <a:gd name="connsiteX9" fmla="*/ 963891 w 1294561"/>
                <a:gd name="connsiteY9" fmla="*/ 294083 h 1583227"/>
                <a:gd name="connsiteX10" fmla="*/ 766009 w 1294561"/>
                <a:gd name="connsiteY10" fmla="*/ 209277 h 1583227"/>
                <a:gd name="connsiteX11" fmla="*/ 839508 w 1294561"/>
                <a:gd name="connsiteY11" fmla="*/ 73587 h 1583227"/>
                <a:gd name="connsiteX12" fmla="*/ 647281 w 1294561"/>
                <a:gd name="connsiteY12" fmla="*/ 88 h 1583227"/>
                <a:gd name="connsiteX13" fmla="*/ 647111 w 1294561"/>
                <a:gd name="connsiteY13" fmla="*/ 88 h 1583227"/>
                <a:gd name="connsiteX14" fmla="*/ 454883 w 1294561"/>
                <a:gd name="connsiteY14" fmla="*/ 73587 h 1583227"/>
                <a:gd name="connsiteX15" fmla="*/ 528382 w 1294561"/>
                <a:gd name="connsiteY15" fmla="*/ 209277 h 1583227"/>
                <a:gd name="connsiteX16" fmla="*/ 330501 w 1294561"/>
                <a:gd name="connsiteY16" fmla="*/ 294083 h 1583227"/>
                <a:gd name="connsiteX17" fmla="*/ 76082 w 1294561"/>
                <a:gd name="connsiteY17" fmla="*/ 220585 h 1583227"/>
                <a:gd name="connsiteX18" fmla="*/ 2753 w 1294561"/>
                <a:gd name="connsiteY18" fmla="*/ 474834 h 1583227"/>
                <a:gd name="connsiteX19" fmla="*/ 87559 w 1294561"/>
                <a:gd name="connsiteY19" fmla="*/ 672715 h 1583227"/>
                <a:gd name="connsiteX20" fmla="*/ 223249 w 1294561"/>
                <a:gd name="connsiteY20" fmla="*/ 599216 h 1583227"/>
                <a:gd name="connsiteX21" fmla="*/ 296748 w 1294561"/>
                <a:gd name="connsiteY21" fmla="*/ 791444 h 1583227"/>
                <a:gd name="connsiteX22" fmla="*/ 296748 w 1294561"/>
                <a:gd name="connsiteY22" fmla="*/ 791614 h 1583227"/>
                <a:gd name="connsiteX23" fmla="*/ 223249 w 1294561"/>
                <a:gd name="connsiteY23" fmla="*/ 983841 h 1583227"/>
                <a:gd name="connsiteX24" fmla="*/ 87559 w 1294561"/>
                <a:gd name="connsiteY24" fmla="*/ 910342 h 1583227"/>
                <a:gd name="connsiteX25" fmla="*/ 2753 w 1294561"/>
                <a:gd name="connsiteY25" fmla="*/ 1108224 h 1583227"/>
                <a:gd name="connsiteX26" fmla="*/ 76252 w 1294561"/>
                <a:gd name="connsiteY26" fmla="*/ 1362643 h 1583227"/>
                <a:gd name="connsiteX27" fmla="*/ 330670 w 1294561"/>
                <a:gd name="connsiteY27" fmla="*/ 1289144 h 1583227"/>
                <a:gd name="connsiteX28" fmla="*/ 528552 w 1294561"/>
                <a:gd name="connsiteY28" fmla="*/ 1373950 h 1583227"/>
                <a:gd name="connsiteX29" fmla="*/ 455053 w 1294561"/>
                <a:gd name="connsiteY29" fmla="*/ 1509640 h 1583227"/>
                <a:gd name="connsiteX30" fmla="*/ 647281 w 1294561"/>
                <a:gd name="connsiteY30" fmla="*/ 1583139 h 1583227"/>
                <a:gd name="connsiteX31" fmla="*/ 647450 w 1294561"/>
                <a:gd name="connsiteY31" fmla="*/ 1583139 h 1583227"/>
                <a:gd name="connsiteX32" fmla="*/ 839678 w 1294561"/>
                <a:gd name="connsiteY32" fmla="*/ 1509640 h 1583227"/>
                <a:gd name="connsiteX33" fmla="*/ 766179 w 1294561"/>
                <a:gd name="connsiteY33" fmla="*/ 1373950 h 1583227"/>
                <a:gd name="connsiteX34" fmla="*/ 964060 w 1294561"/>
                <a:gd name="connsiteY34" fmla="*/ 1289144 h 1583227"/>
                <a:gd name="connsiteX35" fmla="*/ 1218479 w 1294561"/>
                <a:gd name="connsiteY35" fmla="*/ 1362643 h 1583227"/>
                <a:gd name="connsiteX36" fmla="*/ 1291808 w 1294561"/>
                <a:gd name="connsiteY36" fmla="*/ 1108393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7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cubicBezTo>
                    <a:pt x="1218479" y="1362643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ihandform: Form 22">
              <a:extLst>
                <a:ext uri="{FF2B5EF4-FFF2-40B4-BE49-F238E27FC236}">
                  <a16:creationId xmlns:a16="http://schemas.microsoft.com/office/drawing/2014/main" id="{ED2BB85C-403A-7F9E-3E2D-C6A80EC9BC57}"/>
                </a:ext>
              </a:extLst>
            </p:cNvPr>
            <p:cNvSpPr>
              <a:spLocks/>
            </p:cNvSpPr>
            <p:nvPr/>
          </p:nvSpPr>
          <p:spPr>
            <a:xfrm>
              <a:off x="419100" y="3506737"/>
              <a:ext cx="864040" cy="1122688"/>
            </a:xfrm>
            <a:custGeom>
              <a:avLst/>
              <a:gdLst>
                <a:gd name="connsiteX0" fmla="*/ 170 w 1218478"/>
                <a:gd name="connsiteY0" fmla="*/ 220585 h 1583226"/>
                <a:gd name="connsiteX1" fmla="*/ 254588 w 1218478"/>
                <a:gd name="connsiteY1" fmla="*/ 294083 h 1583226"/>
                <a:gd name="connsiteX2" fmla="*/ 452470 w 1218478"/>
                <a:gd name="connsiteY2" fmla="*/ 209277 h 1583226"/>
                <a:gd name="connsiteX3" fmla="*/ 378971 w 1218478"/>
                <a:gd name="connsiteY3" fmla="*/ 73587 h 1583226"/>
                <a:gd name="connsiteX4" fmla="*/ 571198 w 1218478"/>
                <a:gd name="connsiteY4" fmla="*/ 88 h 1583226"/>
                <a:gd name="connsiteX5" fmla="*/ 571368 w 1218478"/>
                <a:gd name="connsiteY5" fmla="*/ 88 h 1583226"/>
                <a:gd name="connsiteX6" fmla="*/ 763596 w 1218478"/>
                <a:gd name="connsiteY6" fmla="*/ 73587 h 1583226"/>
                <a:gd name="connsiteX7" fmla="*/ 690097 w 1218478"/>
                <a:gd name="connsiteY7" fmla="*/ 209277 h 1583226"/>
                <a:gd name="connsiteX8" fmla="*/ 887978 w 1218478"/>
                <a:gd name="connsiteY8" fmla="*/ 294083 h 1583226"/>
                <a:gd name="connsiteX9" fmla="*/ 1142397 w 1218478"/>
                <a:gd name="connsiteY9" fmla="*/ 220585 h 1583226"/>
                <a:gd name="connsiteX10" fmla="*/ 1215726 w 1218478"/>
                <a:gd name="connsiteY10" fmla="*/ 474834 h 1583226"/>
                <a:gd name="connsiteX11" fmla="*/ 1130920 w 1218478"/>
                <a:gd name="connsiteY11" fmla="*/ 672715 h 1583226"/>
                <a:gd name="connsiteX12" fmla="*/ 995230 w 1218478"/>
                <a:gd name="connsiteY12" fmla="*/ 599216 h 1583226"/>
                <a:gd name="connsiteX13" fmla="*/ 921731 w 1218478"/>
                <a:gd name="connsiteY13" fmla="*/ 791444 h 1583226"/>
                <a:gd name="connsiteX14" fmla="*/ 921731 w 1218478"/>
                <a:gd name="connsiteY14" fmla="*/ 791614 h 1583226"/>
                <a:gd name="connsiteX15" fmla="*/ 995230 w 1218478"/>
                <a:gd name="connsiteY15" fmla="*/ 983841 h 1583226"/>
                <a:gd name="connsiteX16" fmla="*/ 1130920 w 1218478"/>
                <a:gd name="connsiteY16" fmla="*/ 910342 h 1583226"/>
                <a:gd name="connsiteX17" fmla="*/ 1215726 w 1218478"/>
                <a:gd name="connsiteY17" fmla="*/ 1108224 h 1583226"/>
                <a:gd name="connsiteX18" fmla="*/ 1142227 w 1218478"/>
                <a:gd name="connsiteY18" fmla="*/ 1362642 h 1583226"/>
                <a:gd name="connsiteX19" fmla="*/ 887809 w 1218478"/>
                <a:gd name="connsiteY19" fmla="*/ 1289144 h 1583226"/>
                <a:gd name="connsiteX20" fmla="*/ 689927 w 1218478"/>
                <a:gd name="connsiteY20" fmla="*/ 1373950 h 1583226"/>
                <a:gd name="connsiteX21" fmla="*/ 763426 w 1218478"/>
                <a:gd name="connsiteY21" fmla="*/ 1509640 h 1583226"/>
                <a:gd name="connsiteX22" fmla="*/ 571198 w 1218478"/>
                <a:gd name="connsiteY22" fmla="*/ 1583139 h 1583226"/>
                <a:gd name="connsiteX23" fmla="*/ 571029 w 1218478"/>
                <a:gd name="connsiteY23" fmla="*/ 1583139 h 1583226"/>
                <a:gd name="connsiteX24" fmla="*/ 378801 w 1218478"/>
                <a:gd name="connsiteY24" fmla="*/ 1509640 h 1583226"/>
                <a:gd name="connsiteX25" fmla="*/ 452300 w 1218478"/>
                <a:gd name="connsiteY25" fmla="*/ 1373950 h 1583226"/>
                <a:gd name="connsiteX26" fmla="*/ 254419 w 1218478"/>
                <a:gd name="connsiteY26" fmla="*/ 1289144 h 1583226"/>
                <a:gd name="connsiteX27" fmla="*/ 0 w 1218478"/>
                <a:gd name="connsiteY27" fmla="*/ 1362642 h 1583226"/>
                <a:gd name="connsiteX28" fmla="*/ 170 w 1218478"/>
                <a:gd name="connsiteY28" fmla="*/ 220585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18478" h="1583226">
                  <a:moveTo>
                    <a:pt x="170" y="220585"/>
                  </a:moveTo>
                  <a:cubicBezTo>
                    <a:pt x="170" y="220585"/>
                    <a:pt x="152821" y="282776"/>
                    <a:pt x="254588" y="294083"/>
                  </a:cubicBezTo>
                  <a:cubicBezTo>
                    <a:pt x="356356" y="305391"/>
                    <a:pt x="452470" y="282776"/>
                    <a:pt x="452470" y="209277"/>
                  </a:cubicBezTo>
                  <a:cubicBezTo>
                    <a:pt x="452470" y="135778"/>
                    <a:pt x="378971" y="152740"/>
                    <a:pt x="378971" y="73587"/>
                  </a:cubicBezTo>
                  <a:cubicBezTo>
                    <a:pt x="378971" y="-5565"/>
                    <a:pt x="571198" y="88"/>
                    <a:pt x="571198" y="88"/>
                  </a:cubicBezTo>
                  <a:lnTo>
                    <a:pt x="571368" y="88"/>
                  </a:lnTo>
                  <a:cubicBezTo>
                    <a:pt x="571368" y="88"/>
                    <a:pt x="763596" y="-5565"/>
                    <a:pt x="763596" y="73587"/>
                  </a:cubicBezTo>
                  <a:cubicBezTo>
                    <a:pt x="763596" y="152740"/>
                    <a:pt x="690097" y="135778"/>
                    <a:pt x="690097" y="209277"/>
                  </a:cubicBezTo>
                  <a:cubicBezTo>
                    <a:pt x="690097" y="282776"/>
                    <a:pt x="786211" y="305391"/>
                    <a:pt x="887978" y="294083"/>
                  </a:cubicBezTo>
                  <a:cubicBezTo>
                    <a:pt x="989746" y="282776"/>
                    <a:pt x="1142397" y="220585"/>
                    <a:pt x="1142397" y="220585"/>
                  </a:cubicBezTo>
                  <a:cubicBezTo>
                    <a:pt x="1142397" y="220585"/>
                    <a:pt x="1204419" y="373066"/>
                    <a:pt x="1215726" y="474834"/>
                  </a:cubicBezTo>
                  <a:cubicBezTo>
                    <a:pt x="1227034" y="576601"/>
                    <a:pt x="1204419" y="672715"/>
                    <a:pt x="1130920" y="672715"/>
                  </a:cubicBezTo>
                  <a:cubicBezTo>
                    <a:pt x="1057421" y="672715"/>
                    <a:pt x="1074382" y="599216"/>
                    <a:pt x="995230" y="599216"/>
                  </a:cubicBezTo>
                  <a:cubicBezTo>
                    <a:pt x="916077" y="599216"/>
                    <a:pt x="921731" y="791444"/>
                    <a:pt x="921731" y="791444"/>
                  </a:cubicBezTo>
                  <a:lnTo>
                    <a:pt x="921731" y="791614"/>
                  </a:lnTo>
                  <a:cubicBezTo>
                    <a:pt x="921731" y="791614"/>
                    <a:pt x="916077" y="983841"/>
                    <a:pt x="995230" y="983841"/>
                  </a:cubicBezTo>
                  <a:cubicBezTo>
                    <a:pt x="1074382" y="983841"/>
                    <a:pt x="1057421" y="910342"/>
                    <a:pt x="1130920" y="910342"/>
                  </a:cubicBezTo>
                  <a:cubicBezTo>
                    <a:pt x="1204419" y="910342"/>
                    <a:pt x="1227034" y="1006456"/>
                    <a:pt x="1215726" y="1108224"/>
                  </a:cubicBezTo>
                  <a:cubicBezTo>
                    <a:pt x="1204419" y="1209991"/>
                    <a:pt x="1142227" y="1362642"/>
                    <a:pt x="1142227" y="1362642"/>
                  </a:cubicBezTo>
                  <a:cubicBezTo>
                    <a:pt x="1142227" y="1362642"/>
                    <a:pt x="989576" y="1300451"/>
                    <a:pt x="887809" y="1289144"/>
                  </a:cubicBezTo>
                  <a:cubicBezTo>
                    <a:pt x="786041" y="1277836"/>
                    <a:pt x="689927" y="1300451"/>
                    <a:pt x="689927" y="1373950"/>
                  </a:cubicBezTo>
                  <a:cubicBezTo>
                    <a:pt x="689927" y="1447449"/>
                    <a:pt x="763426" y="1430487"/>
                    <a:pt x="763426" y="1509640"/>
                  </a:cubicBezTo>
                  <a:cubicBezTo>
                    <a:pt x="763426" y="1588792"/>
                    <a:pt x="571198" y="1583139"/>
                    <a:pt x="571198" y="1583139"/>
                  </a:cubicBezTo>
                  <a:lnTo>
                    <a:pt x="571029" y="1583139"/>
                  </a:lnTo>
                  <a:cubicBezTo>
                    <a:pt x="571029" y="1583139"/>
                    <a:pt x="378801" y="1588792"/>
                    <a:pt x="378801" y="1509640"/>
                  </a:cubicBezTo>
                  <a:cubicBezTo>
                    <a:pt x="378801" y="1430487"/>
                    <a:pt x="452300" y="1447449"/>
                    <a:pt x="452300" y="1373950"/>
                  </a:cubicBezTo>
                  <a:cubicBezTo>
                    <a:pt x="452300" y="1300451"/>
                    <a:pt x="356186" y="1277836"/>
                    <a:pt x="254419" y="1289144"/>
                  </a:cubicBezTo>
                  <a:cubicBezTo>
                    <a:pt x="152651" y="1300451"/>
                    <a:pt x="0" y="1362642"/>
                    <a:pt x="0" y="1362642"/>
                  </a:cubicBezTo>
                  <a:lnTo>
                    <a:pt x="170" y="220585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23">
              <a:extLst>
                <a:ext uri="{FF2B5EF4-FFF2-40B4-BE49-F238E27FC236}">
                  <a16:creationId xmlns:a16="http://schemas.microsoft.com/office/drawing/2014/main" id="{28C8ED55-4C4E-488F-D4AA-C989D7E978F3}"/>
                </a:ext>
              </a:extLst>
            </p:cNvPr>
            <p:cNvSpPr>
              <a:spLocks/>
            </p:cNvSpPr>
            <p:nvPr/>
          </p:nvSpPr>
          <p:spPr>
            <a:xfrm>
              <a:off x="2692349" y="3609086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0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0" y="1150464"/>
                    <a:pt x="984010" y="1071312"/>
                  </a:cubicBezTo>
                  <a:cubicBezTo>
                    <a:pt x="984010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24">
              <a:extLst>
                <a:ext uri="{FF2B5EF4-FFF2-40B4-BE49-F238E27FC236}">
                  <a16:creationId xmlns:a16="http://schemas.microsoft.com/office/drawing/2014/main" id="{151BADE8-85B8-66DE-599F-3076FA72D712}"/>
                </a:ext>
              </a:extLst>
            </p:cNvPr>
            <p:cNvSpPr>
              <a:spLocks/>
            </p:cNvSpPr>
            <p:nvPr/>
          </p:nvSpPr>
          <p:spPr>
            <a:xfrm>
              <a:off x="3604547" y="3506737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0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5"/>
                    <a:pt x="14060" y="910512"/>
                    <a:pt x="87559" y="910512"/>
                  </a:cubicBezTo>
                  <a:cubicBezTo>
                    <a:pt x="161058" y="910512"/>
                    <a:pt x="144097" y="984010"/>
                    <a:pt x="223249" y="984010"/>
                  </a:cubicBezTo>
                  <a:cubicBezTo>
                    <a:pt x="302402" y="984010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25">
              <a:extLst>
                <a:ext uri="{FF2B5EF4-FFF2-40B4-BE49-F238E27FC236}">
                  <a16:creationId xmlns:a16="http://schemas.microsoft.com/office/drawing/2014/main" id="{11350CAD-4FC7-16E0-774C-AA231F7DEF20}"/>
                </a:ext>
              </a:extLst>
            </p:cNvPr>
            <p:cNvSpPr>
              <a:spLocks/>
            </p:cNvSpPr>
            <p:nvPr/>
          </p:nvSpPr>
          <p:spPr>
            <a:xfrm>
              <a:off x="7551485" y="3609086"/>
              <a:ext cx="966269" cy="917992"/>
            </a:xfrm>
            <a:custGeom>
              <a:avLst/>
              <a:gdLst>
                <a:gd name="connsiteX0" fmla="*/ 474834 w 1362642"/>
                <a:gd name="connsiteY0" fmla="*/ 2753 h 1294561"/>
                <a:gd name="connsiteX1" fmla="*/ 672715 w 1362642"/>
                <a:gd name="connsiteY1" fmla="*/ 87559 h 1294561"/>
                <a:gd name="connsiteX2" fmla="*/ 599216 w 1362642"/>
                <a:gd name="connsiteY2" fmla="*/ 223249 h 1294561"/>
                <a:gd name="connsiteX3" fmla="*/ 791444 w 1362642"/>
                <a:gd name="connsiteY3" fmla="*/ 296748 h 1294561"/>
                <a:gd name="connsiteX4" fmla="*/ 791614 w 1362642"/>
                <a:gd name="connsiteY4" fmla="*/ 296748 h 1294561"/>
                <a:gd name="connsiteX5" fmla="*/ 983841 w 1362642"/>
                <a:gd name="connsiteY5" fmla="*/ 223249 h 1294561"/>
                <a:gd name="connsiteX6" fmla="*/ 910342 w 1362642"/>
                <a:gd name="connsiteY6" fmla="*/ 87559 h 1294561"/>
                <a:gd name="connsiteX7" fmla="*/ 1108224 w 1362642"/>
                <a:gd name="connsiteY7" fmla="*/ 2753 h 1294561"/>
                <a:gd name="connsiteX8" fmla="*/ 1362642 w 1362642"/>
                <a:gd name="connsiteY8" fmla="*/ 76252 h 1294561"/>
                <a:gd name="connsiteX9" fmla="*/ 1362642 w 1362642"/>
                <a:gd name="connsiteY9" fmla="*/ 1218479 h 1294561"/>
                <a:gd name="connsiteX10" fmla="*/ 1108393 w 1362642"/>
                <a:gd name="connsiteY10" fmla="*/ 1291808 h 1294561"/>
                <a:gd name="connsiteX11" fmla="*/ 910511 w 1362642"/>
                <a:gd name="connsiteY11" fmla="*/ 1207002 h 1294561"/>
                <a:gd name="connsiteX12" fmla="*/ 984010 w 1362642"/>
                <a:gd name="connsiteY12" fmla="*/ 1071312 h 1294561"/>
                <a:gd name="connsiteX13" fmla="*/ 791783 w 1362642"/>
                <a:gd name="connsiteY13" fmla="*/ 997813 h 1294561"/>
                <a:gd name="connsiteX14" fmla="*/ 791614 w 1362642"/>
                <a:gd name="connsiteY14" fmla="*/ 997813 h 1294561"/>
                <a:gd name="connsiteX15" fmla="*/ 599386 w 1362642"/>
                <a:gd name="connsiteY15" fmla="*/ 1071312 h 1294561"/>
                <a:gd name="connsiteX16" fmla="*/ 672885 w 1362642"/>
                <a:gd name="connsiteY16" fmla="*/ 1207002 h 1294561"/>
                <a:gd name="connsiteX17" fmla="*/ 475003 w 1362642"/>
                <a:gd name="connsiteY17" fmla="*/ 1291808 h 1294561"/>
                <a:gd name="connsiteX18" fmla="*/ 220585 w 1362642"/>
                <a:gd name="connsiteY18" fmla="*/ 1218309 h 1294561"/>
                <a:gd name="connsiteX19" fmla="*/ 294083 w 1362642"/>
                <a:gd name="connsiteY19" fmla="*/ 963891 h 1294561"/>
                <a:gd name="connsiteX20" fmla="*/ 209277 w 1362642"/>
                <a:gd name="connsiteY20" fmla="*/ 766009 h 1294561"/>
                <a:gd name="connsiteX21" fmla="*/ 73587 w 1362642"/>
                <a:gd name="connsiteY21" fmla="*/ 839508 h 1294561"/>
                <a:gd name="connsiteX22" fmla="*/ 88 w 1362642"/>
                <a:gd name="connsiteY22" fmla="*/ 647281 h 1294561"/>
                <a:gd name="connsiteX23" fmla="*/ 88 w 1362642"/>
                <a:gd name="connsiteY23" fmla="*/ 647111 h 1294561"/>
                <a:gd name="connsiteX24" fmla="*/ 73587 w 1362642"/>
                <a:gd name="connsiteY24" fmla="*/ 454883 h 1294561"/>
                <a:gd name="connsiteX25" fmla="*/ 209277 w 1362642"/>
                <a:gd name="connsiteY25" fmla="*/ 528382 h 1294561"/>
                <a:gd name="connsiteX26" fmla="*/ 294083 w 1362642"/>
                <a:gd name="connsiteY26" fmla="*/ 330501 h 1294561"/>
                <a:gd name="connsiteX27" fmla="*/ 220585 w 1362642"/>
                <a:gd name="connsiteY27" fmla="*/ 76082 h 1294561"/>
                <a:gd name="connsiteX28" fmla="*/ 474834 w 1362642"/>
                <a:gd name="connsiteY28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62642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lnTo>
                    <a:pt x="1362642" y="1218479"/>
                  </a:lnTo>
                  <a:cubicBezTo>
                    <a:pt x="1362642" y="1218479"/>
                    <a:pt x="1210160" y="1280501"/>
                    <a:pt x="1108393" y="1291808"/>
                  </a:cubicBezTo>
                  <a:cubicBezTo>
                    <a:pt x="1006625" y="1303116"/>
                    <a:pt x="910511" y="1280501"/>
                    <a:pt x="910511" y="1207002"/>
                  </a:cubicBezTo>
                  <a:cubicBezTo>
                    <a:pt x="910511" y="1133503"/>
                    <a:pt x="984010" y="1150464"/>
                    <a:pt x="984010" y="1071312"/>
                  </a:cubicBezTo>
                  <a:cubicBezTo>
                    <a:pt x="984010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26">
              <a:extLst>
                <a:ext uri="{FF2B5EF4-FFF2-40B4-BE49-F238E27FC236}">
                  <a16:creationId xmlns:a16="http://schemas.microsoft.com/office/drawing/2014/main" id="{46D9088C-CED7-EF12-904B-D941FD6BE05F}"/>
                </a:ext>
              </a:extLst>
            </p:cNvPr>
            <p:cNvSpPr>
              <a:spLocks/>
            </p:cNvSpPr>
            <p:nvPr/>
          </p:nvSpPr>
          <p:spPr>
            <a:xfrm>
              <a:off x="1072650" y="3609086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27">
              <a:extLst>
                <a:ext uri="{FF2B5EF4-FFF2-40B4-BE49-F238E27FC236}">
                  <a16:creationId xmlns:a16="http://schemas.microsoft.com/office/drawing/2014/main" id="{3BDB6C8B-180C-DA86-C48B-859158430757}"/>
                </a:ext>
              </a:extLst>
            </p:cNvPr>
            <p:cNvSpPr>
              <a:spLocks/>
            </p:cNvSpPr>
            <p:nvPr/>
          </p:nvSpPr>
          <p:spPr>
            <a:xfrm>
              <a:off x="1984848" y="3506737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0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10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5"/>
                    <a:pt x="14060" y="910512"/>
                    <a:pt x="87559" y="910512"/>
                  </a:cubicBezTo>
                  <a:cubicBezTo>
                    <a:pt x="161058" y="910512"/>
                    <a:pt x="144097" y="984010"/>
                    <a:pt x="223249" y="984010"/>
                  </a:cubicBezTo>
                  <a:cubicBezTo>
                    <a:pt x="302402" y="984010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5" y="599216"/>
                    <a:pt x="1071312" y="599216"/>
                  </a:cubicBezTo>
                  <a:cubicBezTo>
                    <a:pt x="992160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60" y="983841"/>
                    <a:pt x="1071312" y="983841"/>
                  </a:cubicBezTo>
                  <a:cubicBezTo>
                    <a:pt x="1150465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10" y="1362642"/>
                    <a:pt x="1218310" y="1362642"/>
                  </a:cubicBezTo>
                  <a:cubicBezTo>
                    <a:pt x="1218310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28">
              <a:extLst>
                <a:ext uri="{FF2B5EF4-FFF2-40B4-BE49-F238E27FC236}">
                  <a16:creationId xmlns:a16="http://schemas.microsoft.com/office/drawing/2014/main" id="{3C7E8DBB-7890-B825-CADF-272F75B0D680}"/>
                </a:ext>
              </a:extLst>
            </p:cNvPr>
            <p:cNvSpPr>
              <a:spLocks/>
            </p:cNvSpPr>
            <p:nvPr/>
          </p:nvSpPr>
          <p:spPr>
            <a:xfrm>
              <a:off x="7653713" y="4316586"/>
              <a:ext cx="864041" cy="1122688"/>
            </a:xfrm>
            <a:custGeom>
              <a:avLst/>
              <a:gdLst>
                <a:gd name="connsiteX0" fmla="*/ 1218309 w 1218479"/>
                <a:gd name="connsiteY0" fmla="*/ 220585 h 1583226"/>
                <a:gd name="connsiteX1" fmla="*/ 963891 w 1218479"/>
                <a:gd name="connsiteY1" fmla="*/ 294083 h 1583226"/>
                <a:gd name="connsiteX2" fmla="*/ 766009 w 1218479"/>
                <a:gd name="connsiteY2" fmla="*/ 209277 h 1583226"/>
                <a:gd name="connsiteX3" fmla="*/ 839508 w 1218479"/>
                <a:gd name="connsiteY3" fmla="*/ 73587 h 1583226"/>
                <a:gd name="connsiteX4" fmla="*/ 647281 w 1218479"/>
                <a:gd name="connsiteY4" fmla="*/ 88 h 1583226"/>
                <a:gd name="connsiteX5" fmla="*/ 647111 w 1218479"/>
                <a:gd name="connsiteY5" fmla="*/ 88 h 1583226"/>
                <a:gd name="connsiteX6" fmla="*/ 454883 w 1218479"/>
                <a:gd name="connsiteY6" fmla="*/ 73587 h 1583226"/>
                <a:gd name="connsiteX7" fmla="*/ 528382 w 1218479"/>
                <a:gd name="connsiteY7" fmla="*/ 209277 h 1583226"/>
                <a:gd name="connsiteX8" fmla="*/ 330501 w 1218479"/>
                <a:gd name="connsiteY8" fmla="*/ 294083 h 1583226"/>
                <a:gd name="connsiteX9" fmla="*/ 76082 w 1218479"/>
                <a:gd name="connsiteY9" fmla="*/ 220585 h 1583226"/>
                <a:gd name="connsiteX10" fmla="*/ 2753 w 1218479"/>
                <a:gd name="connsiteY10" fmla="*/ 474834 h 1583226"/>
                <a:gd name="connsiteX11" fmla="*/ 87559 w 1218479"/>
                <a:gd name="connsiteY11" fmla="*/ 672715 h 1583226"/>
                <a:gd name="connsiteX12" fmla="*/ 223249 w 1218479"/>
                <a:gd name="connsiteY12" fmla="*/ 599216 h 1583226"/>
                <a:gd name="connsiteX13" fmla="*/ 296748 w 1218479"/>
                <a:gd name="connsiteY13" fmla="*/ 791444 h 1583226"/>
                <a:gd name="connsiteX14" fmla="*/ 296748 w 1218479"/>
                <a:gd name="connsiteY14" fmla="*/ 791614 h 1583226"/>
                <a:gd name="connsiteX15" fmla="*/ 223249 w 1218479"/>
                <a:gd name="connsiteY15" fmla="*/ 983841 h 1583226"/>
                <a:gd name="connsiteX16" fmla="*/ 87559 w 1218479"/>
                <a:gd name="connsiteY16" fmla="*/ 910342 h 1583226"/>
                <a:gd name="connsiteX17" fmla="*/ 2753 w 1218479"/>
                <a:gd name="connsiteY17" fmla="*/ 1108224 h 1583226"/>
                <a:gd name="connsiteX18" fmla="*/ 76252 w 1218479"/>
                <a:gd name="connsiteY18" fmla="*/ 1362642 h 1583226"/>
                <a:gd name="connsiteX19" fmla="*/ 330670 w 1218479"/>
                <a:gd name="connsiteY19" fmla="*/ 1289144 h 1583226"/>
                <a:gd name="connsiteX20" fmla="*/ 528552 w 1218479"/>
                <a:gd name="connsiteY20" fmla="*/ 1373950 h 1583226"/>
                <a:gd name="connsiteX21" fmla="*/ 455053 w 1218479"/>
                <a:gd name="connsiteY21" fmla="*/ 1509640 h 1583226"/>
                <a:gd name="connsiteX22" fmla="*/ 647281 w 1218479"/>
                <a:gd name="connsiteY22" fmla="*/ 1583139 h 1583226"/>
                <a:gd name="connsiteX23" fmla="*/ 647450 w 1218479"/>
                <a:gd name="connsiteY23" fmla="*/ 1583139 h 1583226"/>
                <a:gd name="connsiteX24" fmla="*/ 839678 w 1218479"/>
                <a:gd name="connsiteY24" fmla="*/ 1509640 h 1583226"/>
                <a:gd name="connsiteX25" fmla="*/ 766179 w 1218479"/>
                <a:gd name="connsiteY25" fmla="*/ 1373950 h 1583226"/>
                <a:gd name="connsiteX26" fmla="*/ 964060 w 1218479"/>
                <a:gd name="connsiteY26" fmla="*/ 1289144 h 1583226"/>
                <a:gd name="connsiteX27" fmla="*/ 1218479 w 1218479"/>
                <a:gd name="connsiteY27" fmla="*/ 1362642 h 1583226"/>
                <a:gd name="connsiteX28" fmla="*/ 1218309 w 1218479"/>
                <a:gd name="connsiteY28" fmla="*/ 220585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18479" h="1583226">
                  <a:moveTo>
                    <a:pt x="1218309" y="220585"/>
                  </a:move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cubicBezTo>
                    <a:pt x="76252" y="1362642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7"/>
                    <a:pt x="455053" y="1509640"/>
                  </a:cubicBezTo>
                  <a:cubicBezTo>
                    <a:pt x="455053" y="1588792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2"/>
                    <a:pt x="839678" y="1509640"/>
                  </a:cubicBezTo>
                  <a:cubicBezTo>
                    <a:pt x="839678" y="1430487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2"/>
                    <a:pt x="1218479" y="1362642"/>
                  </a:cubicBezTo>
                  <a:lnTo>
                    <a:pt x="1218309" y="220585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ihandform: Form 29">
              <a:extLst>
                <a:ext uri="{FF2B5EF4-FFF2-40B4-BE49-F238E27FC236}">
                  <a16:creationId xmlns:a16="http://schemas.microsoft.com/office/drawing/2014/main" id="{77D3E8BE-A7A6-129B-3410-14A49372BBE9}"/>
                </a:ext>
              </a:extLst>
            </p:cNvPr>
            <p:cNvSpPr>
              <a:spLocks/>
            </p:cNvSpPr>
            <p:nvPr/>
          </p:nvSpPr>
          <p:spPr>
            <a:xfrm>
              <a:off x="1882420" y="4418935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0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09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4"/>
                    <a:pt x="599216" y="1071312"/>
                  </a:cubicBezTo>
                  <a:cubicBezTo>
                    <a:pt x="599216" y="992159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59"/>
                    <a:pt x="983841" y="1071312"/>
                  </a:cubicBezTo>
                  <a:cubicBezTo>
                    <a:pt x="983841" y="1150464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09"/>
                    <a:pt x="1362642" y="1218309"/>
                  </a:cubicBez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ihandform: Form 30">
              <a:extLst>
                <a:ext uri="{FF2B5EF4-FFF2-40B4-BE49-F238E27FC236}">
                  <a16:creationId xmlns:a16="http://schemas.microsoft.com/office/drawing/2014/main" id="{569E7554-0898-F52A-18DF-CC13385CA964}"/>
                </a:ext>
              </a:extLst>
            </p:cNvPr>
            <p:cNvSpPr>
              <a:spLocks/>
            </p:cNvSpPr>
            <p:nvPr/>
          </p:nvSpPr>
          <p:spPr>
            <a:xfrm>
              <a:off x="1174878" y="4316586"/>
              <a:ext cx="917992" cy="1122688"/>
            </a:xfrm>
            <a:custGeom>
              <a:avLst/>
              <a:gdLst>
                <a:gd name="connsiteX0" fmla="*/ 1291808 w 1294561"/>
                <a:gd name="connsiteY0" fmla="*/ 1108393 h 1583226"/>
                <a:gd name="connsiteX1" fmla="*/ 1207002 w 1294561"/>
                <a:gd name="connsiteY1" fmla="*/ 910512 h 1583226"/>
                <a:gd name="connsiteX2" fmla="*/ 1071312 w 1294561"/>
                <a:gd name="connsiteY2" fmla="*/ 984010 h 1583226"/>
                <a:gd name="connsiteX3" fmla="*/ 997813 w 1294561"/>
                <a:gd name="connsiteY3" fmla="*/ 791783 h 1583226"/>
                <a:gd name="connsiteX4" fmla="*/ 997813 w 1294561"/>
                <a:gd name="connsiteY4" fmla="*/ 791614 h 1583226"/>
                <a:gd name="connsiteX5" fmla="*/ 1071312 w 1294561"/>
                <a:gd name="connsiteY5" fmla="*/ 599386 h 1583226"/>
                <a:gd name="connsiteX6" fmla="*/ 1207002 w 1294561"/>
                <a:gd name="connsiteY6" fmla="*/ 672885 h 1583226"/>
                <a:gd name="connsiteX7" fmla="*/ 1291808 w 1294561"/>
                <a:gd name="connsiteY7" fmla="*/ 475003 h 1583226"/>
                <a:gd name="connsiteX8" fmla="*/ 1218309 w 1294561"/>
                <a:gd name="connsiteY8" fmla="*/ 220585 h 1583226"/>
                <a:gd name="connsiteX9" fmla="*/ 963891 w 1294561"/>
                <a:gd name="connsiteY9" fmla="*/ 294083 h 1583226"/>
                <a:gd name="connsiteX10" fmla="*/ 766009 w 1294561"/>
                <a:gd name="connsiteY10" fmla="*/ 209277 h 1583226"/>
                <a:gd name="connsiteX11" fmla="*/ 839508 w 1294561"/>
                <a:gd name="connsiteY11" fmla="*/ 73587 h 1583226"/>
                <a:gd name="connsiteX12" fmla="*/ 647281 w 1294561"/>
                <a:gd name="connsiteY12" fmla="*/ 88 h 1583226"/>
                <a:gd name="connsiteX13" fmla="*/ 647111 w 1294561"/>
                <a:gd name="connsiteY13" fmla="*/ 88 h 1583226"/>
                <a:gd name="connsiteX14" fmla="*/ 454883 w 1294561"/>
                <a:gd name="connsiteY14" fmla="*/ 73587 h 1583226"/>
                <a:gd name="connsiteX15" fmla="*/ 528382 w 1294561"/>
                <a:gd name="connsiteY15" fmla="*/ 209277 h 1583226"/>
                <a:gd name="connsiteX16" fmla="*/ 330501 w 1294561"/>
                <a:gd name="connsiteY16" fmla="*/ 294083 h 1583226"/>
                <a:gd name="connsiteX17" fmla="*/ 76082 w 1294561"/>
                <a:gd name="connsiteY17" fmla="*/ 220585 h 1583226"/>
                <a:gd name="connsiteX18" fmla="*/ 2753 w 1294561"/>
                <a:gd name="connsiteY18" fmla="*/ 474834 h 1583226"/>
                <a:gd name="connsiteX19" fmla="*/ 87559 w 1294561"/>
                <a:gd name="connsiteY19" fmla="*/ 672715 h 1583226"/>
                <a:gd name="connsiteX20" fmla="*/ 223249 w 1294561"/>
                <a:gd name="connsiteY20" fmla="*/ 599216 h 1583226"/>
                <a:gd name="connsiteX21" fmla="*/ 296748 w 1294561"/>
                <a:gd name="connsiteY21" fmla="*/ 791444 h 1583226"/>
                <a:gd name="connsiteX22" fmla="*/ 296748 w 1294561"/>
                <a:gd name="connsiteY22" fmla="*/ 791614 h 1583226"/>
                <a:gd name="connsiteX23" fmla="*/ 223249 w 1294561"/>
                <a:gd name="connsiteY23" fmla="*/ 983841 h 1583226"/>
                <a:gd name="connsiteX24" fmla="*/ 87559 w 1294561"/>
                <a:gd name="connsiteY24" fmla="*/ 910342 h 1583226"/>
                <a:gd name="connsiteX25" fmla="*/ 2753 w 1294561"/>
                <a:gd name="connsiteY25" fmla="*/ 1108224 h 1583226"/>
                <a:gd name="connsiteX26" fmla="*/ 76252 w 1294561"/>
                <a:gd name="connsiteY26" fmla="*/ 1362642 h 1583226"/>
                <a:gd name="connsiteX27" fmla="*/ 330670 w 1294561"/>
                <a:gd name="connsiteY27" fmla="*/ 1289144 h 1583226"/>
                <a:gd name="connsiteX28" fmla="*/ 528552 w 1294561"/>
                <a:gd name="connsiteY28" fmla="*/ 1373950 h 1583226"/>
                <a:gd name="connsiteX29" fmla="*/ 455053 w 1294561"/>
                <a:gd name="connsiteY29" fmla="*/ 1509640 h 1583226"/>
                <a:gd name="connsiteX30" fmla="*/ 647281 w 1294561"/>
                <a:gd name="connsiteY30" fmla="*/ 1583139 h 1583226"/>
                <a:gd name="connsiteX31" fmla="*/ 647450 w 1294561"/>
                <a:gd name="connsiteY31" fmla="*/ 1583139 h 1583226"/>
                <a:gd name="connsiteX32" fmla="*/ 839678 w 1294561"/>
                <a:gd name="connsiteY32" fmla="*/ 1509640 h 1583226"/>
                <a:gd name="connsiteX33" fmla="*/ 766179 w 1294561"/>
                <a:gd name="connsiteY33" fmla="*/ 1373950 h 1583226"/>
                <a:gd name="connsiteX34" fmla="*/ 964060 w 1294561"/>
                <a:gd name="connsiteY34" fmla="*/ 1289144 h 1583226"/>
                <a:gd name="connsiteX35" fmla="*/ 1218479 w 1294561"/>
                <a:gd name="connsiteY35" fmla="*/ 1362642 h 1583226"/>
                <a:gd name="connsiteX36" fmla="*/ 1291808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1291808" y="1108393"/>
                  </a:moveTo>
                  <a:cubicBezTo>
                    <a:pt x="1303116" y="1006625"/>
                    <a:pt x="1280501" y="910512"/>
                    <a:pt x="1207002" y="910512"/>
                  </a:cubicBezTo>
                  <a:cubicBezTo>
                    <a:pt x="1133503" y="910512"/>
                    <a:pt x="1150464" y="984010"/>
                    <a:pt x="1071312" y="984010"/>
                  </a:cubicBezTo>
                  <a:cubicBezTo>
                    <a:pt x="992159" y="984010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cubicBezTo>
                    <a:pt x="76252" y="1362642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7"/>
                    <a:pt x="455053" y="1509640"/>
                  </a:cubicBezTo>
                  <a:cubicBezTo>
                    <a:pt x="455053" y="1588792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2"/>
                    <a:pt x="839678" y="1509640"/>
                  </a:cubicBezTo>
                  <a:cubicBezTo>
                    <a:pt x="839678" y="1430487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2"/>
                    <a:pt x="1218479" y="1362642"/>
                  </a:cubicBez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ihandform: Form 31">
              <a:extLst>
                <a:ext uri="{FF2B5EF4-FFF2-40B4-BE49-F238E27FC236}">
                  <a16:creationId xmlns:a16="http://schemas.microsoft.com/office/drawing/2014/main" id="{EFA16597-78A7-5ECE-97E6-204FCDB6F426}"/>
                </a:ext>
              </a:extLst>
            </p:cNvPr>
            <p:cNvSpPr>
              <a:spLocks/>
            </p:cNvSpPr>
            <p:nvPr/>
          </p:nvSpPr>
          <p:spPr>
            <a:xfrm>
              <a:off x="419100" y="4418935"/>
              <a:ext cx="966269" cy="917992"/>
            </a:xfrm>
            <a:custGeom>
              <a:avLst/>
              <a:gdLst>
                <a:gd name="connsiteX0" fmla="*/ 887809 w 1362642"/>
                <a:gd name="connsiteY0" fmla="*/ 2753 h 1294561"/>
                <a:gd name="connsiteX1" fmla="*/ 689927 w 1362642"/>
                <a:gd name="connsiteY1" fmla="*/ 87559 h 1294561"/>
                <a:gd name="connsiteX2" fmla="*/ 763426 w 1362642"/>
                <a:gd name="connsiteY2" fmla="*/ 223249 h 1294561"/>
                <a:gd name="connsiteX3" fmla="*/ 571198 w 1362642"/>
                <a:gd name="connsiteY3" fmla="*/ 296748 h 1294561"/>
                <a:gd name="connsiteX4" fmla="*/ 571029 w 1362642"/>
                <a:gd name="connsiteY4" fmla="*/ 296748 h 1294561"/>
                <a:gd name="connsiteX5" fmla="*/ 378801 w 1362642"/>
                <a:gd name="connsiteY5" fmla="*/ 223249 h 1294561"/>
                <a:gd name="connsiteX6" fmla="*/ 452300 w 1362642"/>
                <a:gd name="connsiteY6" fmla="*/ 87559 h 1294561"/>
                <a:gd name="connsiteX7" fmla="*/ 254419 w 1362642"/>
                <a:gd name="connsiteY7" fmla="*/ 2753 h 1294561"/>
                <a:gd name="connsiteX8" fmla="*/ 0 w 1362642"/>
                <a:gd name="connsiteY8" fmla="*/ 76252 h 1294561"/>
                <a:gd name="connsiteX9" fmla="*/ 0 w 1362642"/>
                <a:gd name="connsiteY9" fmla="*/ 1218479 h 1294561"/>
                <a:gd name="connsiteX10" fmla="*/ 254249 w 1362642"/>
                <a:gd name="connsiteY10" fmla="*/ 1291808 h 1294561"/>
                <a:gd name="connsiteX11" fmla="*/ 452130 w 1362642"/>
                <a:gd name="connsiteY11" fmla="*/ 1207002 h 1294561"/>
                <a:gd name="connsiteX12" fmla="*/ 378632 w 1362642"/>
                <a:gd name="connsiteY12" fmla="*/ 1071312 h 1294561"/>
                <a:gd name="connsiteX13" fmla="*/ 570859 w 1362642"/>
                <a:gd name="connsiteY13" fmla="*/ 997813 h 1294561"/>
                <a:gd name="connsiteX14" fmla="*/ 571029 w 1362642"/>
                <a:gd name="connsiteY14" fmla="*/ 997813 h 1294561"/>
                <a:gd name="connsiteX15" fmla="*/ 763256 w 1362642"/>
                <a:gd name="connsiteY15" fmla="*/ 1071312 h 1294561"/>
                <a:gd name="connsiteX16" fmla="*/ 689758 w 1362642"/>
                <a:gd name="connsiteY16" fmla="*/ 1207002 h 1294561"/>
                <a:gd name="connsiteX17" fmla="*/ 887639 w 1362642"/>
                <a:gd name="connsiteY17" fmla="*/ 1291808 h 1294561"/>
                <a:gd name="connsiteX18" fmla="*/ 1142058 w 1362642"/>
                <a:gd name="connsiteY18" fmla="*/ 1218309 h 1294561"/>
                <a:gd name="connsiteX19" fmla="*/ 1068559 w 1362642"/>
                <a:gd name="connsiteY19" fmla="*/ 963891 h 1294561"/>
                <a:gd name="connsiteX20" fmla="*/ 1153365 w 1362642"/>
                <a:gd name="connsiteY20" fmla="*/ 766009 h 1294561"/>
                <a:gd name="connsiteX21" fmla="*/ 1289055 w 1362642"/>
                <a:gd name="connsiteY21" fmla="*/ 839508 h 1294561"/>
                <a:gd name="connsiteX22" fmla="*/ 1362554 w 1362642"/>
                <a:gd name="connsiteY22" fmla="*/ 647281 h 1294561"/>
                <a:gd name="connsiteX23" fmla="*/ 1362554 w 1362642"/>
                <a:gd name="connsiteY23" fmla="*/ 647111 h 1294561"/>
                <a:gd name="connsiteX24" fmla="*/ 1289055 w 1362642"/>
                <a:gd name="connsiteY24" fmla="*/ 454883 h 1294561"/>
                <a:gd name="connsiteX25" fmla="*/ 1153365 w 1362642"/>
                <a:gd name="connsiteY25" fmla="*/ 528382 h 1294561"/>
                <a:gd name="connsiteX26" fmla="*/ 1068559 w 1362642"/>
                <a:gd name="connsiteY26" fmla="*/ 330501 h 1294561"/>
                <a:gd name="connsiteX27" fmla="*/ 1142058 w 1362642"/>
                <a:gd name="connsiteY27" fmla="*/ 76082 h 1294561"/>
                <a:gd name="connsiteX28" fmla="*/ 887809 w 1362642"/>
                <a:gd name="connsiteY28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62642" h="1294561">
                  <a:moveTo>
                    <a:pt x="887809" y="2753"/>
                  </a:moveTo>
                  <a:cubicBezTo>
                    <a:pt x="786041" y="-8555"/>
                    <a:pt x="689927" y="14060"/>
                    <a:pt x="689927" y="87559"/>
                  </a:cubicBezTo>
                  <a:cubicBezTo>
                    <a:pt x="689927" y="161058"/>
                    <a:pt x="763426" y="144097"/>
                    <a:pt x="763426" y="223249"/>
                  </a:cubicBezTo>
                  <a:cubicBezTo>
                    <a:pt x="763426" y="302402"/>
                    <a:pt x="571198" y="296748"/>
                    <a:pt x="571198" y="296748"/>
                  </a:cubicBezTo>
                  <a:lnTo>
                    <a:pt x="571029" y="296748"/>
                  </a:lnTo>
                  <a:cubicBezTo>
                    <a:pt x="571029" y="296748"/>
                    <a:pt x="378801" y="302402"/>
                    <a:pt x="378801" y="223249"/>
                  </a:cubicBezTo>
                  <a:cubicBezTo>
                    <a:pt x="378801" y="144097"/>
                    <a:pt x="452300" y="161058"/>
                    <a:pt x="452300" y="87559"/>
                  </a:cubicBezTo>
                  <a:cubicBezTo>
                    <a:pt x="452300" y="14060"/>
                    <a:pt x="356186" y="-8555"/>
                    <a:pt x="254419" y="2753"/>
                  </a:cubicBezTo>
                  <a:cubicBezTo>
                    <a:pt x="152651" y="14060"/>
                    <a:pt x="0" y="76252"/>
                    <a:pt x="0" y="76252"/>
                  </a:cubicBezTo>
                  <a:lnTo>
                    <a:pt x="0" y="1218479"/>
                  </a:lnTo>
                  <a:cubicBezTo>
                    <a:pt x="0" y="1218479"/>
                    <a:pt x="152482" y="1280501"/>
                    <a:pt x="254249" y="1291808"/>
                  </a:cubicBezTo>
                  <a:cubicBezTo>
                    <a:pt x="356017" y="1303116"/>
                    <a:pt x="452130" y="1280501"/>
                    <a:pt x="452130" y="1207002"/>
                  </a:cubicBezTo>
                  <a:cubicBezTo>
                    <a:pt x="452130" y="1133503"/>
                    <a:pt x="378632" y="1150464"/>
                    <a:pt x="378632" y="1071312"/>
                  </a:cubicBezTo>
                  <a:cubicBezTo>
                    <a:pt x="378632" y="992159"/>
                    <a:pt x="570859" y="997813"/>
                    <a:pt x="570859" y="997813"/>
                  </a:cubicBezTo>
                  <a:lnTo>
                    <a:pt x="571029" y="997813"/>
                  </a:lnTo>
                  <a:cubicBezTo>
                    <a:pt x="571029" y="997813"/>
                    <a:pt x="763256" y="992159"/>
                    <a:pt x="763256" y="1071312"/>
                  </a:cubicBezTo>
                  <a:cubicBezTo>
                    <a:pt x="763256" y="1150464"/>
                    <a:pt x="689758" y="1133503"/>
                    <a:pt x="689758" y="1207002"/>
                  </a:cubicBezTo>
                  <a:cubicBezTo>
                    <a:pt x="689758" y="1280501"/>
                    <a:pt x="785871" y="1303116"/>
                    <a:pt x="887639" y="1291808"/>
                  </a:cubicBezTo>
                  <a:cubicBezTo>
                    <a:pt x="989406" y="1280501"/>
                    <a:pt x="1142058" y="1218309"/>
                    <a:pt x="1142058" y="1218309"/>
                  </a:cubicBezTo>
                  <a:cubicBezTo>
                    <a:pt x="1142058" y="1218309"/>
                    <a:pt x="1079867" y="1065658"/>
                    <a:pt x="1068559" y="963891"/>
                  </a:cubicBezTo>
                  <a:cubicBezTo>
                    <a:pt x="1057252" y="862123"/>
                    <a:pt x="1079867" y="766009"/>
                    <a:pt x="1153365" y="766009"/>
                  </a:cubicBezTo>
                  <a:cubicBezTo>
                    <a:pt x="1226864" y="766009"/>
                    <a:pt x="1209903" y="839508"/>
                    <a:pt x="1289055" y="839508"/>
                  </a:cubicBezTo>
                  <a:cubicBezTo>
                    <a:pt x="1368208" y="839508"/>
                    <a:pt x="1362554" y="647281"/>
                    <a:pt x="1362554" y="647281"/>
                  </a:cubicBezTo>
                  <a:lnTo>
                    <a:pt x="1362554" y="647111"/>
                  </a:lnTo>
                  <a:cubicBezTo>
                    <a:pt x="1362554" y="647111"/>
                    <a:pt x="1368208" y="454883"/>
                    <a:pt x="1289055" y="454883"/>
                  </a:cubicBezTo>
                  <a:cubicBezTo>
                    <a:pt x="1209903" y="454883"/>
                    <a:pt x="1226864" y="528382"/>
                    <a:pt x="1153365" y="528382"/>
                  </a:cubicBezTo>
                  <a:cubicBezTo>
                    <a:pt x="1079867" y="528382"/>
                    <a:pt x="1057252" y="432268"/>
                    <a:pt x="1068559" y="330501"/>
                  </a:cubicBezTo>
                  <a:cubicBezTo>
                    <a:pt x="1079867" y="228733"/>
                    <a:pt x="1142058" y="76082"/>
                    <a:pt x="1142058" y="76082"/>
                  </a:cubicBezTo>
                  <a:cubicBezTo>
                    <a:pt x="1142058" y="76082"/>
                    <a:pt x="989576" y="14060"/>
                    <a:pt x="887809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ihandform: Form 32">
              <a:extLst>
                <a:ext uri="{FF2B5EF4-FFF2-40B4-BE49-F238E27FC236}">
                  <a16:creationId xmlns:a16="http://schemas.microsoft.com/office/drawing/2014/main" id="{4D9A4AA9-4519-086D-6796-A6CAC0919BCC}"/>
                </a:ext>
              </a:extLst>
            </p:cNvPr>
            <p:cNvSpPr>
              <a:spLocks/>
            </p:cNvSpPr>
            <p:nvPr/>
          </p:nvSpPr>
          <p:spPr>
            <a:xfrm>
              <a:off x="3502118" y="4418935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0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09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4"/>
                    <a:pt x="599216" y="1071312"/>
                  </a:cubicBezTo>
                  <a:cubicBezTo>
                    <a:pt x="599216" y="992159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59"/>
                    <a:pt x="983841" y="1071312"/>
                  </a:cubicBezTo>
                  <a:cubicBezTo>
                    <a:pt x="983841" y="1150464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09"/>
                    <a:pt x="1362642" y="1218309"/>
                  </a:cubicBez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ihandform: Form 33">
              <a:extLst>
                <a:ext uri="{FF2B5EF4-FFF2-40B4-BE49-F238E27FC236}">
                  <a16:creationId xmlns:a16="http://schemas.microsoft.com/office/drawing/2014/main" id="{B2ED2556-6713-35EE-1286-3F30FFF8285A}"/>
                </a:ext>
              </a:extLst>
            </p:cNvPr>
            <p:cNvSpPr>
              <a:spLocks/>
            </p:cNvSpPr>
            <p:nvPr/>
          </p:nvSpPr>
          <p:spPr>
            <a:xfrm>
              <a:off x="2794577" y="4316586"/>
              <a:ext cx="917992" cy="1122688"/>
            </a:xfrm>
            <a:custGeom>
              <a:avLst/>
              <a:gdLst>
                <a:gd name="connsiteX0" fmla="*/ 1291808 w 1294561"/>
                <a:gd name="connsiteY0" fmla="*/ 1108393 h 1583226"/>
                <a:gd name="connsiteX1" fmla="*/ 1207002 w 1294561"/>
                <a:gd name="connsiteY1" fmla="*/ 910512 h 1583226"/>
                <a:gd name="connsiteX2" fmla="*/ 1071312 w 1294561"/>
                <a:gd name="connsiteY2" fmla="*/ 984010 h 1583226"/>
                <a:gd name="connsiteX3" fmla="*/ 997813 w 1294561"/>
                <a:gd name="connsiteY3" fmla="*/ 791783 h 1583226"/>
                <a:gd name="connsiteX4" fmla="*/ 997813 w 1294561"/>
                <a:gd name="connsiteY4" fmla="*/ 791614 h 1583226"/>
                <a:gd name="connsiteX5" fmla="*/ 1071312 w 1294561"/>
                <a:gd name="connsiteY5" fmla="*/ 599386 h 1583226"/>
                <a:gd name="connsiteX6" fmla="*/ 1207002 w 1294561"/>
                <a:gd name="connsiteY6" fmla="*/ 672885 h 1583226"/>
                <a:gd name="connsiteX7" fmla="*/ 1291808 w 1294561"/>
                <a:gd name="connsiteY7" fmla="*/ 475003 h 1583226"/>
                <a:gd name="connsiteX8" fmla="*/ 1218309 w 1294561"/>
                <a:gd name="connsiteY8" fmla="*/ 220585 h 1583226"/>
                <a:gd name="connsiteX9" fmla="*/ 963891 w 1294561"/>
                <a:gd name="connsiteY9" fmla="*/ 294083 h 1583226"/>
                <a:gd name="connsiteX10" fmla="*/ 766009 w 1294561"/>
                <a:gd name="connsiteY10" fmla="*/ 209277 h 1583226"/>
                <a:gd name="connsiteX11" fmla="*/ 839508 w 1294561"/>
                <a:gd name="connsiteY11" fmla="*/ 73587 h 1583226"/>
                <a:gd name="connsiteX12" fmla="*/ 647281 w 1294561"/>
                <a:gd name="connsiteY12" fmla="*/ 88 h 1583226"/>
                <a:gd name="connsiteX13" fmla="*/ 647111 w 1294561"/>
                <a:gd name="connsiteY13" fmla="*/ 88 h 1583226"/>
                <a:gd name="connsiteX14" fmla="*/ 454883 w 1294561"/>
                <a:gd name="connsiteY14" fmla="*/ 73587 h 1583226"/>
                <a:gd name="connsiteX15" fmla="*/ 528382 w 1294561"/>
                <a:gd name="connsiteY15" fmla="*/ 209277 h 1583226"/>
                <a:gd name="connsiteX16" fmla="*/ 330501 w 1294561"/>
                <a:gd name="connsiteY16" fmla="*/ 294083 h 1583226"/>
                <a:gd name="connsiteX17" fmla="*/ 76082 w 1294561"/>
                <a:gd name="connsiteY17" fmla="*/ 220585 h 1583226"/>
                <a:gd name="connsiteX18" fmla="*/ 2753 w 1294561"/>
                <a:gd name="connsiteY18" fmla="*/ 474834 h 1583226"/>
                <a:gd name="connsiteX19" fmla="*/ 87559 w 1294561"/>
                <a:gd name="connsiteY19" fmla="*/ 672715 h 1583226"/>
                <a:gd name="connsiteX20" fmla="*/ 223249 w 1294561"/>
                <a:gd name="connsiteY20" fmla="*/ 599216 h 1583226"/>
                <a:gd name="connsiteX21" fmla="*/ 296748 w 1294561"/>
                <a:gd name="connsiteY21" fmla="*/ 791444 h 1583226"/>
                <a:gd name="connsiteX22" fmla="*/ 296748 w 1294561"/>
                <a:gd name="connsiteY22" fmla="*/ 791614 h 1583226"/>
                <a:gd name="connsiteX23" fmla="*/ 223249 w 1294561"/>
                <a:gd name="connsiteY23" fmla="*/ 983841 h 1583226"/>
                <a:gd name="connsiteX24" fmla="*/ 87559 w 1294561"/>
                <a:gd name="connsiteY24" fmla="*/ 910342 h 1583226"/>
                <a:gd name="connsiteX25" fmla="*/ 2753 w 1294561"/>
                <a:gd name="connsiteY25" fmla="*/ 1108224 h 1583226"/>
                <a:gd name="connsiteX26" fmla="*/ 76252 w 1294561"/>
                <a:gd name="connsiteY26" fmla="*/ 1362642 h 1583226"/>
                <a:gd name="connsiteX27" fmla="*/ 330670 w 1294561"/>
                <a:gd name="connsiteY27" fmla="*/ 1289144 h 1583226"/>
                <a:gd name="connsiteX28" fmla="*/ 528552 w 1294561"/>
                <a:gd name="connsiteY28" fmla="*/ 1373950 h 1583226"/>
                <a:gd name="connsiteX29" fmla="*/ 455053 w 1294561"/>
                <a:gd name="connsiteY29" fmla="*/ 1509640 h 1583226"/>
                <a:gd name="connsiteX30" fmla="*/ 647281 w 1294561"/>
                <a:gd name="connsiteY30" fmla="*/ 1583139 h 1583226"/>
                <a:gd name="connsiteX31" fmla="*/ 647450 w 1294561"/>
                <a:gd name="connsiteY31" fmla="*/ 1583139 h 1583226"/>
                <a:gd name="connsiteX32" fmla="*/ 839678 w 1294561"/>
                <a:gd name="connsiteY32" fmla="*/ 1509640 h 1583226"/>
                <a:gd name="connsiteX33" fmla="*/ 766179 w 1294561"/>
                <a:gd name="connsiteY33" fmla="*/ 1373950 h 1583226"/>
                <a:gd name="connsiteX34" fmla="*/ 964060 w 1294561"/>
                <a:gd name="connsiteY34" fmla="*/ 1289144 h 1583226"/>
                <a:gd name="connsiteX35" fmla="*/ 1218479 w 1294561"/>
                <a:gd name="connsiteY35" fmla="*/ 1362642 h 1583226"/>
                <a:gd name="connsiteX36" fmla="*/ 1291808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1291808" y="1108393"/>
                  </a:moveTo>
                  <a:cubicBezTo>
                    <a:pt x="1303116" y="1006625"/>
                    <a:pt x="1280501" y="910512"/>
                    <a:pt x="1207002" y="910512"/>
                  </a:cubicBezTo>
                  <a:cubicBezTo>
                    <a:pt x="1133503" y="910512"/>
                    <a:pt x="1150464" y="984010"/>
                    <a:pt x="1071312" y="984010"/>
                  </a:cubicBezTo>
                  <a:cubicBezTo>
                    <a:pt x="992159" y="984010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cubicBezTo>
                    <a:pt x="76252" y="1362642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7"/>
                    <a:pt x="455053" y="1509640"/>
                  </a:cubicBezTo>
                  <a:cubicBezTo>
                    <a:pt x="455053" y="1588792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2"/>
                    <a:pt x="839678" y="1509640"/>
                  </a:cubicBezTo>
                  <a:cubicBezTo>
                    <a:pt x="839678" y="1430487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2"/>
                    <a:pt x="1218479" y="1362642"/>
                  </a:cubicBez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ihandform: Form 34">
              <a:extLst>
                <a:ext uri="{FF2B5EF4-FFF2-40B4-BE49-F238E27FC236}">
                  <a16:creationId xmlns:a16="http://schemas.microsoft.com/office/drawing/2014/main" id="{8C5138FE-FB1A-0915-822E-0F8261F1F458}"/>
                </a:ext>
              </a:extLst>
            </p:cNvPr>
            <p:cNvSpPr>
              <a:spLocks/>
            </p:cNvSpPr>
            <p:nvPr/>
          </p:nvSpPr>
          <p:spPr>
            <a:xfrm>
              <a:off x="1174999" y="1233609"/>
              <a:ext cx="917992" cy="966269"/>
            </a:xfrm>
            <a:custGeom>
              <a:avLst/>
              <a:gdLst>
                <a:gd name="connsiteX0" fmla="*/ 2753 w 1294561"/>
                <a:gd name="connsiteY0" fmla="*/ 887809 h 1362642"/>
                <a:gd name="connsiteX1" fmla="*/ 87559 w 1294561"/>
                <a:gd name="connsiteY1" fmla="*/ 689927 h 1362642"/>
                <a:gd name="connsiteX2" fmla="*/ 223249 w 1294561"/>
                <a:gd name="connsiteY2" fmla="*/ 763426 h 1362642"/>
                <a:gd name="connsiteX3" fmla="*/ 296748 w 1294561"/>
                <a:gd name="connsiteY3" fmla="*/ 571198 h 1362642"/>
                <a:gd name="connsiteX4" fmla="*/ 296748 w 1294561"/>
                <a:gd name="connsiteY4" fmla="*/ 571029 h 1362642"/>
                <a:gd name="connsiteX5" fmla="*/ 223249 w 1294561"/>
                <a:gd name="connsiteY5" fmla="*/ 378801 h 1362642"/>
                <a:gd name="connsiteX6" fmla="*/ 87559 w 1294561"/>
                <a:gd name="connsiteY6" fmla="*/ 452300 h 1362642"/>
                <a:gd name="connsiteX7" fmla="*/ 2753 w 1294561"/>
                <a:gd name="connsiteY7" fmla="*/ 254419 h 1362642"/>
                <a:gd name="connsiteX8" fmla="*/ 76252 w 1294561"/>
                <a:gd name="connsiteY8" fmla="*/ 0 h 1362642"/>
                <a:gd name="connsiteX9" fmla="*/ 1218479 w 1294561"/>
                <a:gd name="connsiteY9" fmla="*/ 0 h 1362642"/>
                <a:gd name="connsiteX10" fmla="*/ 1291808 w 1294561"/>
                <a:gd name="connsiteY10" fmla="*/ 254249 h 1362642"/>
                <a:gd name="connsiteX11" fmla="*/ 1207002 w 1294561"/>
                <a:gd name="connsiteY11" fmla="*/ 452130 h 1362642"/>
                <a:gd name="connsiteX12" fmla="*/ 1071312 w 1294561"/>
                <a:gd name="connsiteY12" fmla="*/ 378632 h 1362642"/>
                <a:gd name="connsiteX13" fmla="*/ 997813 w 1294561"/>
                <a:gd name="connsiteY13" fmla="*/ 570859 h 1362642"/>
                <a:gd name="connsiteX14" fmla="*/ 997813 w 1294561"/>
                <a:gd name="connsiteY14" fmla="*/ 571029 h 1362642"/>
                <a:gd name="connsiteX15" fmla="*/ 1071312 w 1294561"/>
                <a:gd name="connsiteY15" fmla="*/ 763256 h 1362642"/>
                <a:gd name="connsiteX16" fmla="*/ 1207002 w 1294561"/>
                <a:gd name="connsiteY16" fmla="*/ 689758 h 1362642"/>
                <a:gd name="connsiteX17" fmla="*/ 1291808 w 1294561"/>
                <a:gd name="connsiteY17" fmla="*/ 887639 h 1362642"/>
                <a:gd name="connsiteX18" fmla="*/ 1218309 w 1294561"/>
                <a:gd name="connsiteY18" fmla="*/ 1142058 h 1362642"/>
                <a:gd name="connsiteX19" fmla="*/ 963891 w 1294561"/>
                <a:gd name="connsiteY19" fmla="*/ 1068559 h 1362642"/>
                <a:gd name="connsiteX20" fmla="*/ 766009 w 1294561"/>
                <a:gd name="connsiteY20" fmla="*/ 1153365 h 1362642"/>
                <a:gd name="connsiteX21" fmla="*/ 839508 w 1294561"/>
                <a:gd name="connsiteY21" fmla="*/ 1289055 h 1362642"/>
                <a:gd name="connsiteX22" fmla="*/ 647281 w 1294561"/>
                <a:gd name="connsiteY22" fmla="*/ 1362554 h 1362642"/>
                <a:gd name="connsiteX23" fmla="*/ 647111 w 1294561"/>
                <a:gd name="connsiteY23" fmla="*/ 1362554 h 1362642"/>
                <a:gd name="connsiteX24" fmla="*/ 454883 w 1294561"/>
                <a:gd name="connsiteY24" fmla="*/ 1289055 h 1362642"/>
                <a:gd name="connsiteX25" fmla="*/ 528382 w 1294561"/>
                <a:gd name="connsiteY25" fmla="*/ 1153365 h 1362642"/>
                <a:gd name="connsiteX26" fmla="*/ 330501 w 1294561"/>
                <a:gd name="connsiteY26" fmla="*/ 1068559 h 1362642"/>
                <a:gd name="connsiteX27" fmla="*/ 76082 w 1294561"/>
                <a:gd name="connsiteY27" fmla="*/ 1142058 h 1362642"/>
                <a:gd name="connsiteX28" fmla="*/ 2753 w 1294561"/>
                <a:gd name="connsiteY28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80501" y="152482"/>
                    <a:pt x="1291808" y="254249"/>
                  </a:cubicBezTo>
                  <a:cubicBezTo>
                    <a:pt x="1303116" y="356017"/>
                    <a:pt x="1280501" y="452130"/>
                    <a:pt x="1207002" y="452130"/>
                  </a:cubicBezTo>
                  <a:cubicBezTo>
                    <a:pt x="1133503" y="452130"/>
                    <a:pt x="1150464" y="378632"/>
                    <a:pt x="1071312" y="378632"/>
                  </a:cubicBezTo>
                  <a:cubicBezTo>
                    <a:pt x="992159" y="378632"/>
                    <a:pt x="997813" y="570859"/>
                    <a:pt x="997813" y="570859"/>
                  </a:cubicBezTo>
                  <a:lnTo>
                    <a:pt x="997813" y="571029"/>
                  </a:lnTo>
                  <a:cubicBezTo>
                    <a:pt x="997813" y="571029"/>
                    <a:pt x="992159" y="763256"/>
                    <a:pt x="1071312" y="763256"/>
                  </a:cubicBezTo>
                  <a:cubicBezTo>
                    <a:pt x="1150464" y="763256"/>
                    <a:pt x="1133503" y="689758"/>
                    <a:pt x="1207002" y="689758"/>
                  </a:cubicBezTo>
                  <a:cubicBezTo>
                    <a:pt x="1280501" y="689758"/>
                    <a:pt x="1303116" y="785871"/>
                    <a:pt x="1291808" y="887639"/>
                  </a:cubicBezTo>
                  <a:cubicBezTo>
                    <a:pt x="1280501" y="989406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ihandform: Form 35">
              <a:extLst>
                <a:ext uri="{FF2B5EF4-FFF2-40B4-BE49-F238E27FC236}">
                  <a16:creationId xmlns:a16="http://schemas.microsoft.com/office/drawing/2014/main" id="{5265F29D-8C0C-2215-C015-E67A314EA9DC}"/>
                </a:ext>
              </a:extLst>
            </p:cNvPr>
            <p:cNvSpPr>
              <a:spLocks/>
            </p:cNvSpPr>
            <p:nvPr/>
          </p:nvSpPr>
          <p:spPr>
            <a:xfrm>
              <a:off x="1882539" y="1233488"/>
              <a:ext cx="1122688" cy="864040"/>
            </a:xfrm>
            <a:custGeom>
              <a:avLst/>
              <a:gdLst>
                <a:gd name="connsiteX0" fmla="*/ 1362642 w 1583226"/>
                <a:gd name="connsiteY0" fmla="*/ 170 h 1218478"/>
                <a:gd name="connsiteX1" fmla="*/ 1289143 w 1583226"/>
                <a:gd name="connsiteY1" fmla="*/ 254588 h 1218478"/>
                <a:gd name="connsiteX2" fmla="*/ 1373950 w 1583226"/>
                <a:gd name="connsiteY2" fmla="*/ 452470 h 1218478"/>
                <a:gd name="connsiteX3" fmla="*/ 1509640 w 1583226"/>
                <a:gd name="connsiteY3" fmla="*/ 378971 h 1218478"/>
                <a:gd name="connsiteX4" fmla="*/ 1583139 w 1583226"/>
                <a:gd name="connsiteY4" fmla="*/ 571198 h 1218478"/>
                <a:gd name="connsiteX5" fmla="*/ 1583139 w 1583226"/>
                <a:gd name="connsiteY5" fmla="*/ 571368 h 1218478"/>
                <a:gd name="connsiteX6" fmla="*/ 1509640 w 1583226"/>
                <a:gd name="connsiteY6" fmla="*/ 763596 h 1218478"/>
                <a:gd name="connsiteX7" fmla="*/ 1373950 w 1583226"/>
                <a:gd name="connsiteY7" fmla="*/ 690097 h 1218478"/>
                <a:gd name="connsiteX8" fmla="*/ 1289143 w 1583226"/>
                <a:gd name="connsiteY8" fmla="*/ 887978 h 1218478"/>
                <a:gd name="connsiteX9" fmla="*/ 1362642 w 1583226"/>
                <a:gd name="connsiteY9" fmla="*/ 1142397 h 1218478"/>
                <a:gd name="connsiteX10" fmla="*/ 1108393 w 1583226"/>
                <a:gd name="connsiteY10" fmla="*/ 1215726 h 1218478"/>
                <a:gd name="connsiteX11" fmla="*/ 910512 w 1583226"/>
                <a:gd name="connsiteY11" fmla="*/ 1130920 h 1218478"/>
                <a:gd name="connsiteX12" fmla="*/ 984011 w 1583226"/>
                <a:gd name="connsiteY12" fmla="*/ 995230 h 1218478"/>
                <a:gd name="connsiteX13" fmla="*/ 791783 w 1583226"/>
                <a:gd name="connsiteY13" fmla="*/ 921731 h 1218478"/>
                <a:gd name="connsiteX14" fmla="*/ 791614 w 1583226"/>
                <a:gd name="connsiteY14" fmla="*/ 921731 h 1218478"/>
                <a:gd name="connsiteX15" fmla="*/ 599386 w 1583226"/>
                <a:gd name="connsiteY15" fmla="*/ 995230 h 1218478"/>
                <a:gd name="connsiteX16" fmla="*/ 672885 w 1583226"/>
                <a:gd name="connsiteY16" fmla="*/ 1130920 h 1218478"/>
                <a:gd name="connsiteX17" fmla="*/ 475003 w 1583226"/>
                <a:gd name="connsiteY17" fmla="*/ 1215726 h 1218478"/>
                <a:gd name="connsiteX18" fmla="*/ 220585 w 1583226"/>
                <a:gd name="connsiteY18" fmla="*/ 1142227 h 1218478"/>
                <a:gd name="connsiteX19" fmla="*/ 294083 w 1583226"/>
                <a:gd name="connsiteY19" fmla="*/ 887809 h 1218478"/>
                <a:gd name="connsiteX20" fmla="*/ 209277 w 1583226"/>
                <a:gd name="connsiteY20" fmla="*/ 689927 h 1218478"/>
                <a:gd name="connsiteX21" fmla="*/ 73587 w 1583226"/>
                <a:gd name="connsiteY21" fmla="*/ 763426 h 1218478"/>
                <a:gd name="connsiteX22" fmla="*/ 88 w 1583226"/>
                <a:gd name="connsiteY22" fmla="*/ 571198 h 1218478"/>
                <a:gd name="connsiteX23" fmla="*/ 88 w 1583226"/>
                <a:gd name="connsiteY23" fmla="*/ 571029 h 1218478"/>
                <a:gd name="connsiteX24" fmla="*/ 73587 w 1583226"/>
                <a:gd name="connsiteY24" fmla="*/ 378801 h 1218478"/>
                <a:gd name="connsiteX25" fmla="*/ 209277 w 1583226"/>
                <a:gd name="connsiteY25" fmla="*/ 452300 h 1218478"/>
                <a:gd name="connsiteX26" fmla="*/ 294083 w 1583226"/>
                <a:gd name="connsiteY26" fmla="*/ 254419 h 1218478"/>
                <a:gd name="connsiteX27" fmla="*/ 220528 w 1583226"/>
                <a:gd name="connsiteY27" fmla="*/ 0 h 1218478"/>
                <a:gd name="connsiteX28" fmla="*/ 1362586 w 1583226"/>
                <a:gd name="connsiteY28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8">
                  <a:moveTo>
                    <a:pt x="1362642" y="170"/>
                  </a:moveTo>
                  <a:cubicBezTo>
                    <a:pt x="1362642" y="170"/>
                    <a:pt x="1300451" y="152821"/>
                    <a:pt x="1289143" y="254588"/>
                  </a:cubicBezTo>
                  <a:cubicBezTo>
                    <a:pt x="1277836" y="356356"/>
                    <a:pt x="1300451" y="452470"/>
                    <a:pt x="1373950" y="452470"/>
                  </a:cubicBezTo>
                  <a:cubicBezTo>
                    <a:pt x="1447449" y="452470"/>
                    <a:pt x="1430487" y="378971"/>
                    <a:pt x="1509640" y="378971"/>
                  </a:cubicBezTo>
                  <a:cubicBezTo>
                    <a:pt x="1588792" y="378971"/>
                    <a:pt x="1583139" y="571198"/>
                    <a:pt x="1583139" y="571198"/>
                  </a:cubicBezTo>
                  <a:lnTo>
                    <a:pt x="1583139" y="571368"/>
                  </a:lnTo>
                  <a:cubicBezTo>
                    <a:pt x="1583139" y="571368"/>
                    <a:pt x="1588792" y="763596"/>
                    <a:pt x="1509640" y="763596"/>
                  </a:cubicBezTo>
                  <a:cubicBezTo>
                    <a:pt x="1430487" y="763596"/>
                    <a:pt x="1447449" y="690097"/>
                    <a:pt x="1373950" y="690097"/>
                  </a:cubicBezTo>
                  <a:cubicBezTo>
                    <a:pt x="1300451" y="690097"/>
                    <a:pt x="1277836" y="786211"/>
                    <a:pt x="1289143" y="887978"/>
                  </a:cubicBezTo>
                  <a:cubicBezTo>
                    <a:pt x="1300451" y="989746"/>
                    <a:pt x="1362642" y="1142397"/>
                    <a:pt x="1362642" y="1142397"/>
                  </a:cubicBezTo>
                  <a:cubicBezTo>
                    <a:pt x="1362642" y="1142397"/>
                    <a:pt x="1210161" y="1204419"/>
                    <a:pt x="1108393" y="1215726"/>
                  </a:cubicBezTo>
                  <a:cubicBezTo>
                    <a:pt x="1006626" y="1227034"/>
                    <a:pt x="910512" y="1204419"/>
                    <a:pt x="910512" y="1130920"/>
                  </a:cubicBezTo>
                  <a:cubicBezTo>
                    <a:pt x="910512" y="1057421"/>
                    <a:pt x="984011" y="1074382"/>
                    <a:pt x="984011" y="995230"/>
                  </a:cubicBezTo>
                  <a:cubicBezTo>
                    <a:pt x="984011" y="916077"/>
                    <a:pt x="791783" y="921731"/>
                    <a:pt x="791783" y="921731"/>
                  </a:cubicBezTo>
                  <a:lnTo>
                    <a:pt x="791614" y="921731"/>
                  </a:lnTo>
                  <a:cubicBezTo>
                    <a:pt x="791614" y="921731"/>
                    <a:pt x="599386" y="916077"/>
                    <a:pt x="599386" y="995230"/>
                  </a:cubicBezTo>
                  <a:cubicBezTo>
                    <a:pt x="599386" y="1074382"/>
                    <a:pt x="672885" y="1057421"/>
                    <a:pt x="672885" y="1130920"/>
                  </a:cubicBezTo>
                  <a:cubicBezTo>
                    <a:pt x="672885" y="1204419"/>
                    <a:pt x="576771" y="1227034"/>
                    <a:pt x="475003" y="1215726"/>
                  </a:cubicBezTo>
                  <a:cubicBezTo>
                    <a:pt x="373236" y="1204419"/>
                    <a:pt x="220585" y="1142227"/>
                    <a:pt x="220585" y="1142227"/>
                  </a:cubicBezTo>
                  <a:cubicBezTo>
                    <a:pt x="220585" y="1142227"/>
                    <a:pt x="282776" y="989576"/>
                    <a:pt x="294083" y="887809"/>
                  </a:cubicBezTo>
                  <a:cubicBezTo>
                    <a:pt x="305391" y="786041"/>
                    <a:pt x="282776" y="689927"/>
                    <a:pt x="209277" y="689927"/>
                  </a:cubicBezTo>
                  <a:cubicBezTo>
                    <a:pt x="135778" y="689927"/>
                    <a:pt x="152740" y="763426"/>
                    <a:pt x="73587" y="763426"/>
                  </a:cubicBezTo>
                  <a:cubicBezTo>
                    <a:pt x="-5565" y="763426"/>
                    <a:pt x="88" y="571198"/>
                    <a:pt x="88" y="571198"/>
                  </a:cubicBezTo>
                  <a:lnTo>
                    <a:pt x="88" y="571029"/>
                  </a:lnTo>
                  <a:cubicBezTo>
                    <a:pt x="88" y="571029"/>
                    <a:pt x="-5565" y="378801"/>
                    <a:pt x="73587" y="378801"/>
                  </a:cubicBezTo>
                  <a:cubicBezTo>
                    <a:pt x="152740" y="378801"/>
                    <a:pt x="135778" y="452300"/>
                    <a:pt x="209277" y="452300"/>
                  </a:cubicBezTo>
                  <a:cubicBezTo>
                    <a:pt x="282776" y="452300"/>
                    <a:pt x="305391" y="356186"/>
                    <a:pt x="294083" y="254419"/>
                  </a:cubicBezTo>
                  <a:cubicBezTo>
                    <a:pt x="282776" y="152651"/>
                    <a:pt x="220528" y="0"/>
                    <a:pt x="220528" y="0"/>
                  </a:cubicBezTo>
                  <a:lnTo>
                    <a:pt x="1362586" y="170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ihandform: Form 36">
              <a:extLst>
                <a:ext uri="{FF2B5EF4-FFF2-40B4-BE49-F238E27FC236}">
                  <a16:creationId xmlns:a16="http://schemas.microsoft.com/office/drawing/2014/main" id="{7115E9FC-95BE-6287-173C-4C88292C2528}"/>
                </a:ext>
              </a:extLst>
            </p:cNvPr>
            <p:cNvSpPr>
              <a:spLocks/>
            </p:cNvSpPr>
            <p:nvPr/>
          </p:nvSpPr>
          <p:spPr>
            <a:xfrm>
              <a:off x="7551605" y="5228784"/>
              <a:ext cx="966269" cy="864041"/>
            </a:xfrm>
            <a:custGeom>
              <a:avLst/>
              <a:gdLst>
                <a:gd name="connsiteX0" fmla="*/ 1108393 w 1362642"/>
                <a:gd name="connsiteY0" fmla="*/ 2753 h 1218479"/>
                <a:gd name="connsiteX1" fmla="*/ 910512 w 1362642"/>
                <a:gd name="connsiteY1" fmla="*/ 87559 h 1218479"/>
                <a:gd name="connsiteX2" fmla="*/ 984011 w 1362642"/>
                <a:gd name="connsiteY2" fmla="*/ 223249 h 1218479"/>
                <a:gd name="connsiteX3" fmla="*/ 791783 w 1362642"/>
                <a:gd name="connsiteY3" fmla="*/ 296748 h 1218479"/>
                <a:gd name="connsiteX4" fmla="*/ 791614 w 1362642"/>
                <a:gd name="connsiteY4" fmla="*/ 296748 h 1218479"/>
                <a:gd name="connsiteX5" fmla="*/ 599386 w 1362642"/>
                <a:gd name="connsiteY5" fmla="*/ 223249 h 1218479"/>
                <a:gd name="connsiteX6" fmla="*/ 672885 w 1362642"/>
                <a:gd name="connsiteY6" fmla="*/ 87559 h 1218479"/>
                <a:gd name="connsiteX7" fmla="*/ 475003 w 1362642"/>
                <a:gd name="connsiteY7" fmla="*/ 2753 h 1218479"/>
                <a:gd name="connsiteX8" fmla="*/ 220585 w 1362642"/>
                <a:gd name="connsiteY8" fmla="*/ 76252 h 1218479"/>
                <a:gd name="connsiteX9" fmla="*/ 294083 w 1362642"/>
                <a:gd name="connsiteY9" fmla="*/ 330670 h 1218479"/>
                <a:gd name="connsiteX10" fmla="*/ 209277 w 1362642"/>
                <a:gd name="connsiteY10" fmla="*/ 528552 h 1218479"/>
                <a:gd name="connsiteX11" fmla="*/ 73587 w 1362642"/>
                <a:gd name="connsiteY11" fmla="*/ 455053 h 1218479"/>
                <a:gd name="connsiteX12" fmla="*/ 88 w 1362642"/>
                <a:gd name="connsiteY12" fmla="*/ 647281 h 1218479"/>
                <a:gd name="connsiteX13" fmla="*/ 88 w 1362642"/>
                <a:gd name="connsiteY13" fmla="*/ 647450 h 1218479"/>
                <a:gd name="connsiteX14" fmla="*/ 73587 w 1362642"/>
                <a:gd name="connsiteY14" fmla="*/ 839678 h 1218479"/>
                <a:gd name="connsiteX15" fmla="*/ 209277 w 1362642"/>
                <a:gd name="connsiteY15" fmla="*/ 766179 h 1218479"/>
                <a:gd name="connsiteX16" fmla="*/ 294083 w 1362642"/>
                <a:gd name="connsiteY16" fmla="*/ 964060 h 1218479"/>
                <a:gd name="connsiteX17" fmla="*/ 220585 w 1362642"/>
                <a:gd name="connsiteY17" fmla="*/ 1218479 h 1218479"/>
                <a:gd name="connsiteX18" fmla="*/ 1362642 w 1362642"/>
                <a:gd name="connsiteY18" fmla="*/ 1218309 h 1218479"/>
                <a:gd name="connsiteX19" fmla="*/ 1362642 w 1362642"/>
                <a:gd name="connsiteY19" fmla="*/ 76082 h 1218479"/>
                <a:gd name="connsiteX20" fmla="*/ 1108393 w 1362642"/>
                <a:gd name="connsiteY20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62642" h="1218479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2" y="1218309"/>
                  </a:lnTo>
                  <a:lnTo>
                    <a:pt x="1362642" y="76082"/>
                  </a:ln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ihandform: Form 37">
              <a:extLst>
                <a:ext uri="{FF2B5EF4-FFF2-40B4-BE49-F238E27FC236}">
                  <a16:creationId xmlns:a16="http://schemas.microsoft.com/office/drawing/2014/main" id="{2E306FC7-0AD3-5C00-8416-DF5004D3B9A2}"/>
                </a:ext>
              </a:extLst>
            </p:cNvPr>
            <p:cNvSpPr>
              <a:spLocks/>
            </p:cNvSpPr>
            <p:nvPr/>
          </p:nvSpPr>
          <p:spPr>
            <a:xfrm>
              <a:off x="1985008" y="5126436"/>
              <a:ext cx="917992" cy="966269"/>
            </a:xfrm>
            <a:custGeom>
              <a:avLst/>
              <a:gdLst>
                <a:gd name="connsiteX0" fmla="*/ 1291808 w 1294561"/>
                <a:gd name="connsiteY0" fmla="*/ 1108393 h 1362642"/>
                <a:gd name="connsiteX1" fmla="*/ 1207002 w 1294561"/>
                <a:gd name="connsiteY1" fmla="*/ 910512 h 1362642"/>
                <a:gd name="connsiteX2" fmla="*/ 1071312 w 1294561"/>
                <a:gd name="connsiteY2" fmla="*/ 984011 h 1362642"/>
                <a:gd name="connsiteX3" fmla="*/ 997813 w 1294561"/>
                <a:gd name="connsiteY3" fmla="*/ 791783 h 1362642"/>
                <a:gd name="connsiteX4" fmla="*/ 997813 w 1294561"/>
                <a:gd name="connsiteY4" fmla="*/ 791614 h 1362642"/>
                <a:gd name="connsiteX5" fmla="*/ 1071312 w 1294561"/>
                <a:gd name="connsiteY5" fmla="*/ 599386 h 1362642"/>
                <a:gd name="connsiteX6" fmla="*/ 1207002 w 1294561"/>
                <a:gd name="connsiteY6" fmla="*/ 672885 h 1362642"/>
                <a:gd name="connsiteX7" fmla="*/ 1291808 w 1294561"/>
                <a:gd name="connsiteY7" fmla="*/ 475003 h 1362642"/>
                <a:gd name="connsiteX8" fmla="*/ 1218309 w 1294561"/>
                <a:gd name="connsiteY8" fmla="*/ 220585 h 1362642"/>
                <a:gd name="connsiteX9" fmla="*/ 963891 w 1294561"/>
                <a:gd name="connsiteY9" fmla="*/ 294083 h 1362642"/>
                <a:gd name="connsiteX10" fmla="*/ 766009 w 1294561"/>
                <a:gd name="connsiteY10" fmla="*/ 209277 h 1362642"/>
                <a:gd name="connsiteX11" fmla="*/ 839508 w 1294561"/>
                <a:gd name="connsiteY11" fmla="*/ 73587 h 1362642"/>
                <a:gd name="connsiteX12" fmla="*/ 647281 w 1294561"/>
                <a:gd name="connsiteY12" fmla="*/ 88 h 1362642"/>
                <a:gd name="connsiteX13" fmla="*/ 647111 w 1294561"/>
                <a:gd name="connsiteY13" fmla="*/ 88 h 1362642"/>
                <a:gd name="connsiteX14" fmla="*/ 454883 w 1294561"/>
                <a:gd name="connsiteY14" fmla="*/ 73587 h 1362642"/>
                <a:gd name="connsiteX15" fmla="*/ 528382 w 1294561"/>
                <a:gd name="connsiteY15" fmla="*/ 209277 h 1362642"/>
                <a:gd name="connsiteX16" fmla="*/ 330501 w 1294561"/>
                <a:gd name="connsiteY16" fmla="*/ 294083 h 1362642"/>
                <a:gd name="connsiteX17" fmla="*/ 76082 w 1294561"/>
                <a:gd name="connsiteY17" fmla="*/ 220585 h 1362642"/>
                <a:gd name="connsiteX18" fmla="*/ 2753 w 1294561"/>
                <a:gd name="connsiteY18" fmla="*/ 474834 h 1362642"/>
                <a:gd name="connsiteX19" fmla="*/ 87559 w 1294561"/>
                <a:gd name="connsiteY19" fmla="*/ 672715 h 1362642"/>
                <a:gd name="connsiteX20" fmla="*/ 223249 w 1294561"/>
                <a:gd name="connsiteY20" fmla="*/ 599216 h 1362642"/>
                <a:gd name="connsiteX21" fmla="*/ 296748 w 1294561"/>
                <a:gd name="connsiteY21" fmla="*/ 791444 h 1362642"/>
                <a:gd name="connsiteX22" fmla="*/ 296748 w 1294561"/>
                <a:gd name="connsiteY22" fmla="*/ 791614 h 1362642"/>
                <a:gd name="connsiteX23" fmla="*/ 223249 w 1294561"/>
                <a:gd name="connsiteY23" fmla="*/ 983841 h 1362642"/>
                <a:gd name="connsiteX24" fmla="*/ 87559 w 1294561"/>
                <a:gd name="connsiteY24" fmla="*/ 910342 h 1362642"/>
                <a:gd name="connsiteX25" fmla="*/ 2753 w 1294561"/>
                <a:gd name="connsiteY25" fmla="*/ 1108224 h 1362642"/>
                <a:gd name="connsiteX26" fmla="*/ 76252 w 1294561"/>
                <a:gd name="connsiteY26" fmla="*/ 1362642 h 1362642"/>
                <a:gd name="connsiteX27" fmla="*/ 1218479 w 1294561"/>
                <a:gd name="connsiteY27" fmla="*/ 1362642 h 1362642"/>
                <a:gd name="connsiteX28" fmla="*/ 1291808 w 1294561"/>
                <a:gd name="connsiteY28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lnTo>
                    <a:pt x="1218479" y="1362642"/>
                  </a:ln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ihandform: Form 38">
              <a:extLst>
                <a:ext uri="{FF2B5EF4-FFF2-40B4-BE49-F238E27FC236}">
                  <a16:creationId xmlns:a16="http://schemas.microsoft.com/office/drawing/2014/main" id="{4E3AEE13-3935-E4BF-9386-5389C16E3D78}"/>
                </a:ext>
              </a:extLst>
            </p:cNvPr>
            <p:cNvSpPr>
              <a:spLocks/>
            </p:cNvSpPr>
            <p:nvPr/>
          </p:nvSpPr>
          <p:spPr>
            <a:xfrm>
              <a:off x="1072771" y="5228784"/>
              <a:ext cx="1122688" cy="864041"/>
            </a:xfrm>
            <a:custGeom>
              <a:avLst/>
              <a:gdLst>
                <a:gd name="connsiteX0" fmla="*/ 1108393 w 1583226"/>
                <a:gd name="connsiteY0" fmla="*/ 2753 h 1218479"/>
                <a:gd name="connsiteX1" fmla="*/ 910512 w 1583226"/>
                <a:gd name="connsiteY1" fmla="*/ 87559 h 1218479"/>
                <a:gd name="connsiteX2" fmla="*/ 984011 w 1583226"/>
                <a:gd name="connsiteY2" fmla="*/ 223249 h 1218479"/>
                <a:gd name="connsiteX3" fmla="*/ 791783 w 1583226"/>
                <a:gd name="connsiteY3" fmla="*/ 296748 h 1218479"/>
                <a:gd name="connsiteX4" fmla="*/ 791614 w 1583226"/>
                <a:gd name="connsiteY4" fmla="*/ 296748 h 1218479"/>
                <a:gd name="connsiteX5" fmla="*/ 599386 w 1583226"/>
                <a:gd name="connsiteY5" fmla="*/ 223249 h 1218479"/>
                <a:gd name="connsiteX6" fmla="*/ 672885 w 1583226"/>
                <a:gd name="connsiteY6" fmla="*/ 87559 h 1218479"/>
                <a:gd name="connsiteX7" fmla="*/ 475003 w 1583226"/>
                <a:gd name="connsiteY7" fmla="*/ 2753 h 1218479"/>
                <a:gd name="connsiteX8" fmla="*/ 220585 w 1583226"/>
                <a:gd name="connsiteY8" fmla="*/ 76252 h 1218479"/>
                <a:gd name="connsiteX9" fmla="*/ 294083 w 1583226"/>
                <a:gd name="connsiteY9" fmla="*/ 330670 h 1218479"/>
                <a:gd name="connsiteX10" fmla="*/ 209277 w 1583226"/>
                <a:gd name="connsiteY10" fmla="*/ 528552 h 1218479"/>
                <a:gd name="connsiteX11" fmla="*/ 73587 w 1583226"/>
                <a:gd name="connsiteY11" fmla="*/ 455053 h 1218479"/>
                <a:gd name="connsiteX12" fmla="*/ 88 w 1583226"/>
                <a:gd name="connsiteY12" fmla="*/ 647281 h 1218479"/>
                <a:gd name="connsiteX13" fmla="*/ 88 w 1583226"/>
                <a:gd name="connsiteY13" fmla="*/ 647450 h 1218479"/>
                <a:gd name="connsiteX14" fmla="*/ 73587 w 1583226"/>
                <a:gd name="connsiteY14" fmla="*/ 839678 h 1218479"/>
                <a:gd name="connsiteX15" fmla="*/ 209277 w 1583226"/>
                <a:gd name="connsiteY15" fmla="*/ 766179 h 1218479"/>
                <a:gd name="connsiteX16" fmla="*/ 294083 w 1583226"/>
                <a:gd name="connsiteY16" fmla="*/ 964060 h 1218479"/>
                <a:gd name="connsiteX17" fmla="*/ 220585 w 1583226"/>
                <a:gd name="connsiteY17" fmla="*/ 1218479 h 1218479"/>
                <a:gd name="connsiteX18" fmla="*/ 1362642 w 1583226"/>
                <a:gd name="connsiteY18" fmla="*/ 1218309 h 1218479"/>
                <a:gd name="connsiteX19" fmla="*/ 1289144 w 1583226"/>
                <a:gd name="connsiteY19" fmla="*/ 963891 h 1218479"/>
                <a:gd name="connsiteX20" fmla="*/ 1373950 w 1583226"/>
                <a:gd name="connsiteY20" fmla="*/ 766009 h 1218479"/>
                <a:gd name="connsiteX21" fmla="*/ 1509640 w 1583226"/>
                <a:gd name="connsiteY21" fmla="*/ 839508 h 1218479"/>
                <a:gd name="connsiteX22" fmla="*/ 1583139 w 1583226"/>
                <a:gd name="connsiteY22" fmla="*/ 647281 h 1218479"/>
                <a:gd name="connsiteX23" fmla="*/ 1583139 w 1583226"/>
                <a:gd name="connsiteY23" fmla="*/ 647111 h 1218479"/>
                <a:gd name="connsiteX24" fmla="*/ 1509640 w 1583226"/>
                <a:gd name="connsiteY24" fmla="*/ 454883 h 1218479"/>
                <a:gd name="connsiteX25" fmla="*/ 1373950 w 1583226"/>
                <a:gd name="connsiteY25" fmla="*/ 528382 h 1218479"/>
                <a:gd name="connsiteX26" fmla="*/ 1289144 w 1583226"/>
                <a:gd name="connsiteY26" fmla="*/ 330501 h 1218479"/>
                <a:gd name="connsiteX27" fmla="*/ 1362642 w 1583226"/>
                <a:gd name="connsiteY27" fmla="*/ 76082 h 1218479"/>
                <a:gd name="connsiteX28" fmla="*/ 1108393 w 1583226"/>
                <a:gd name="connsiteY28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9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2" y="1218309"/>
                  </a:ln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ihandform: Form 39">
              <a:extLst>
                <a:ext uri="{FF2B5EF4-FFF2-40B4-BE49-F238E27FC236}">
                  <a16:creationId xmlns:a16="http://schemas.microsoft.com/office/drawing/2014/main" id="{F736F416-31DC-53A9-544B-B490326F1729}"/>
                </a:ext>
              </a:extLst>
            </p:cNvPr>
            <p:cNvSpPr>
              <a:spLocks/>
            </p:cNvSpPr>
            <p:nvPr/>
          </p:nvSpPr>
          <p:spPr>
            <a:xfrm>
              <a:off x="3604707" y="5126436"/>
              <a:ext cx="917991" cy="966269"/>
            </a:xfrm>
            <a:custGeom>
              <a:avLst/>
              <a:gdLst>
                <a:gd name="connsiteX0" fmla="*/ 1291808 w 1294560"/>
                <a:gd name="connsiteY0" fmla="*/ 1108393 h 1362642"/>
                <a:gd name="connsiteX1" fmla="*/ 1207002 w 1294560"/>
                <a:gd name="connsiteY1" fmla="*/ 910512 h 1362642"/>
                <a:gd name="connsiteX2" fmla="*/ 1071312 w 1294560"/>
                <a:gd name="connsiteY2" fmla="*/ 984011 h 1362642"/>
                <a:gd name="connsiteX3" fmla="*/ 997813 w 1294560"/>
                <a:gd name="connsiteY3" fmla="*/ 791783 h 1362642"/>
                <a:gd name="connsiteX4" fmla="*/ 997813 w 1294560"/>
                <a:gd name="connsiteY4" fmla="*/ 791614 h 1362642"/>
                <a:gd name="connsiteX5" fmla="*/ 1071312 w 1294560"/>
                <a:gd name="connsiteY5" fmla="*/ 599386 h 1362642"/>
                <a:gd name="connsiteX6" fmla="*/ 1207002 w 1294560"/>
                <a:gd name="connsiteY6" fmla="*/ 672885 h 1362642"/>
                <a:gd name="connsiteX7" fmla="*/ 1291808 w 1294560"/>
                <a:gd name="connsiteY7" fmla="*/ 475003 h 1362642"/>
                <a:gd name="connsiteX8" fmla="*/ 1218309 w 1294560"/>
                <a:gd name="connsiteY8" fmla="*/ 220585 h 1362642"/>
                <a:gd name="connsiteX9" fmla="*/ 963891 w 1294560"/>
                <a:gd name="connsiteY9" fmla="*/ 294083 h 1362642"/>
                <a:gd name="connsiteX10" fmla="*/ 766009 w 1294560"/>
                <a:gd name="connsiteY10" fmla="*/ 209277 h 1362642"/>
                <a:gd name="connsiteX11" fmla="*/ 839508 w 1294560"/>
                <a:gd name="connsiteY11" fmla="*/ 73587 h 1362642"/>
                <a:gd name="connsiteX12" fmla="*/ 647281 w 1294560"/>
                <a:gd name="connsiteY12" fmla="*/ 88 h 1362642"/>
                <a:gd name="connsiteX13" fmla="*/ 647111 w 1294560"/>
                <a:gd name="connsiteY13" fmla="*/ 88 h 1362642"/>
                <a:gd name="connsiteX14" fmla="*/ 454883 w 1294560"/>
                <a:gd name="connsiteY14" fmla="*/ 73587 h 1362642"/>
                <a:gd name="connsiteX15" fmla="*/ 528382 w 1294560"/>
                <a:gd name="connsiteY15" fmla="*/ 209277 h 1362642"/>
                <a:gd name="connsiteX16" fmla="*/ 330501 w 1294560"/>
                <a:gd name="connsiteY16" fmla="*/ 294083 h 1362642"/>
                <a:gd name="connsiteX17" fmla="*/ 76082 w 1294560"/>
                <a:gd name="connsiteY17" fmla="*/ 220585 h 1362642"/>
                <a:gd name="connsiteX18" fmla="*/ 2753 w 1294560"/>
                <a:gd name="connsiteY18" fmla="*/ 474834 h 1362642"/>
                <a:gd name="connsiteX19" fmla="*/ 87559 w 1294560"/>
                <a:gd name="connsiteY19" fmla="*/ 672715 h 1362642"/>
                <a:gd name="connsiteX20" fmla="*/ 223249 w 1294560"/>
                <a:gd name="connsiteY20" fmla="*/ 599216 h 1362642"/>
                <a:gd name="connsiteX21" fmla="*/ 296748 w 1294560"/>
                <a:gd name="connsiteY21" fmla="*/ 791444 h 1362642"/>
                <a:gd name="connsiteX22" fmla="*/ 296748 w 1294560"/>
                <a:gd name="connsiteY22" fmla="*/ 791614 h 1362642"/>
                <a:gd name="connsiteX23" fmla="*/ 223249 w 1294560"/>
                <a:gd name="connsiteY23" fmla="*/ 983841 h 1362642"/>
                <a:gd name="connsiteX24" fmla="*/ 87559 w 1294560"/>
                <a:gd name="connsiteY24" fmla="*/ 910342 h 1362642"/>
                <a:gd name="connsiteX25" fmla="*/ 2753 w 1294560"/>
                <a:gd name="connsiteY25" fmla="*/ 1108224 h 1362642"/>
                <a:gd name="connsiteX26" fmla="*/ 76252 w 1294560"/>
                <a:gd name="connsiteY26" fmla="*/ 1362642 h 1362642"/>
                <a:gd name="connsiteX27" fmla="*/ 1218479 w 1294560"/>
                <a:gd name="connsiteY27" fmla="*/ 1362642 h 1362642"/>
                <a:gd name="connsiteX28" fmla="*/ 1291808 w 1294560"/>
                <a:gd name="connsiteY28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0" h="1362642">
                  <a:moveTo>
                    <a:pt x="1291808" y="1108393"/>
                  </a:moveTo>
                  <a:cubicBezTo>
                    <a:pt x="1303115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5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lnTo>
                    <a:pt x="1218479" y="1362642"/>
                  </a:ln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ihandform: Form 40">
              <a:extLst>
                <a:ext uri="{FF2B5EF4-FFF2-40B4-BE49-F238E27FC236}">
                  <a16:creationId xmlns:a16="http://schemas.microsoft.com/office/drawing/2014/main" id="{556E4C3D-D751-CFBE-432A-2F0D749625C0}"/>
                </a:ext>
              </a:extLst>
            </p:cNvPr>
            <p:cNvSpPr>
              <a:spLocks/>
            </p:cNvSpPr>
            <p:nvPr/>
          </p:nvSpPr>
          <p:spPr>
            <a:xfrm>
              <a:off x="2692469" y="5228784"/>
              <a:ext cx="1122688" cy="864041"/>
            </a:xfrm>
            <a:custGeom>
              <a:avLst/>
              <a:gdLst>
                <a:gd name="connsiteX0" fmla="*/ 1108393 w 1583226"/>
                <a:gd name="connsiteY0" fmla="*/ 2753 h 1218479"/>
                <a:gd name="connsiteX1" fmla="*/ 910512 w 1583226"/>
                <a:gd name="connsiteY1" fmla="*/ 87559 h 1218479"/>
                <a:gd name="connsiteX2" fmla="*/ 984011 w 1583226"/>
                <a:gd name="connsiteY2" fmla="*/ 223249 h 1218479"/>
                <a:gd name="connsiteX3" fmla="*/ 791783 w 1583226"/>
                <a:gd name="connsiteY3" fmla="*/ 296748 h 1218479"/>
                <a:gd name="connsiteX4" fmla="*/ 791614 w 1583226"/>
                <a:gd name="connsiteY4" fmla="*/ 296748 h 1218479"/>
                <a:gd name="connsiteX5" fmla="*/ 599386 w 1583226"/>
                <a:gd name="connsiteY5" fmla="*/ 223249 h 1218479"/>
                <a:gd name="connsiteX6" fmla="*/ 672885 w 1583226"/>
                <a:gd name="connsiteY6" fmla="*/ 87559 h 1218479"/>
                <a:gd name="connsiteX7" fmla="*/ 475003 w 1583226"/>
                <a:gd name="connsiteY7" fmla="*/ 2753 h 1218479"/>
                <a:gd name="connsiteX8" fmla="*/ 220585 w 1583226"/>
                <a:gd name="connsiteY8" fmla="*/ 76252 h 1218479"/>
                <a:gd name="connsiteX9" fmla="*/ 294083 w 1583226"/>
                <a:gd name="connsiteY9" fmla="*/ 330670 h 1218479"/>
                <a:gd name="connsiteX10" fmla="*/ 209277 w 1583226"/>
                <a:gd name="connsiteY10" fmla="*/ 528552 h 1218479"/>
                <a:gd name="connsiteX11" fmla="*/ 73587 w 1583226"/>
                <a:gd name="connsiteY11" fmla="*/ 455053 h 1218479"/>
                <a:gd name="connsiteX12" fmla="*/ 88 w 1583226"/>
                <a:gd name="connsiteY12" fmla="*/ 647281 h 1218479"/>
                <a:gd name="connsiteX13" fmla="*/ 88 w 1583226"/>
                <a:gd name="connsiteY13" fmla="*/ 647450 h 1218479"/>
                <a:gd name="connsiteX14" fmla="*/ 73587 w 1583226"/>
                <a:gd name="connsiteY14" fmla="*/ 839678 h 1218479"/>
                <a:gd name="connsiteX15" fmla="*/ 209277 w 1583226"/>
                <a:gd name="connsiteY15" fmla="*/ 766179 h 1218479"/>
                <a:gd name="connsiteX16" fmla="*/ 294083 w 1583226"/>
                <a:gd name="connsiteY16" fmla="*/ 964060 h 1218479"/>
                <a:gd name="connsiteX17" fmla="*/ 220585 w 1583226"/>
                <a:gd name="connsiteY17" fmla="*/ 1218479 h 1218479"/>
                <a:gd name="connsiteX18" fmla="*/ 1362642 w 1583226"/>
                <a:gd name="connsiteY18" fmla="*/ 1218309 h 1218479"/>
                <a:gd name="connsiteX19" fmla="*/ 1289144 w 1583226"/>
                <a:gd name="connsiteY19" fmla="*/ 963891 h 1218479"/>
                <a:gd name="connsiteX20" fmla="*/ 1373950 w 1583226"/>
                <a:gd name="connsiteY20" fmla="*/ 766009 h 1218479"/>
                <a:gd name="connsiteX21" fmla="*/ 1509640 w 1583226"/>
                <a:gd name="connsiteY21" fmla="*/ 839508 h 1218479"/>
                <a:gd name="connsiteX22" fmla="*/ 1583139 w 1583226"/>
                <a:gd name="connsiteY22" fmla="*/ 647281 h 1218479"/>
                <a:gd name="connsiteX23" fmla="*/ 1583139 w 1583226"/>
                <a:gd name="connsiteY23" fmla="*/ 647111 h 1218479"/>
                <a:gd name="connsiteX24" fmla="*/ 1509640 w 1583226"/>
                <a:gd name="connsiteY24" fmla="*/ 454883 h 1218479"/>
                <a:gd name="connsiteX25" fmla="*/ 1373950 w 1583226"/>
                <a:gd name="connsiteY25" fmla="*/ 528382 h 1218479"/>
                <a:gd name="connsiteX26" fmla="*/ 1289144 w 1583226"/>
                <a:gd name="connsiteY26" fmla="*/ 330501 h 1218479"/>
                <a:gd name="connsiteX27" fmla="*/ 1362642 w 1583226"/>
                <a:gd name="connsiteY27" fmla="*/ 76082 h 1218479"/>
                <a:gd name="connsiteX28" fmla="*/ 1108393 w 1583226"/>
                <a:gd name="connsiteY28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9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2" y="1218309"/>
                  </a:ln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ihandform: Form 41">
              <a:extLst>
                <a:ext uri="{FF2B5EF4-FFF2-40B4-BE49-F238E27FC236}">
                  <a16:creationId xmlns:a16="http://schemas.microsoft.com/office/drawing/2014/main" id="{B50F3AB5-662B-F935-3DA4-4023033FC86E}"/>
                </a:ext>
              </a:extLst>
            </p:cNvPr>
            <p:cNvSpPr>
              <a:spLocks/>
            </p:cNvSpPr>
            <p:nvPr/>
          </p:nvSpPr>
          <p:spPr>
            <a:xfrm>
              <a:off x="4312048" y="1989387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ihandform: Form 42">
              <a:extLst>
                <a:ext uri="{FF2B5EF4-FFF2-40B4-BE49-F238E27FC236}">
                  <a16:creationId xmlns:a16="http://schemas.microsoft.com/office/drawing/2014/main" id="{11683AFA-D0FD-CF91-38A8-AA72E055C758}"/>
                </a:ext>
              </a:extLst>
            </p:cNvPr>
            <p:cNvSpPr>
              <a:spLocks/>
            </p:cNvSpPr>
            <p:nvPr/>
          </p:nvSpPr>
          <p:spPr>
            <a:xfrm>
              <a:off x="5224246" y="1887038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1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6"/>
                    <a:pt x="14060" y="910512"/>
                    <a:pt x="87559" y="910512"/>
                  </a:cubicBezTo>
                  <a:cubicBezTo>
                    <a:pt x="161058" y="910512"/>
                    <a:pt x="144097" y="984011"/>
                    <a:pt x="223249" y="984011"/>
                  </a:cubicBezTo>
                  <a:cubicBezTo>
                    <a:pt x="302402" y="984011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ihandform: Form 43">
              <a:extLst>
                <a:ext uri="{FF2B5EF4-FFF2-40B4-BE49-F238E27FC236}">
                  <a16:creationId xmlns:a16="http://schemas.microsoft.com/office/drawing/2014/main" id="{4DDEACAF-2A04-D871-0AF8-2F6E5441268B}"/>
                </a:ext>
              </a:extLst>
            </p:cNvPr>
            <p:cNvSpPr>
              <a:spLocks/>
            </p:cNvSpPr>
            <p:nvPr/>
          </p:nvSpPr>
          <p:spPr>
            <a:xfrm>
              <a:off x="4414396" y="1233609"/>
              <a:ext cx="917992" cy="966269"/>
            </a:xfrm>
            <a:custGeom>
              <a:avLst/>
              <a:gdLst>
                <a:gd name="connsiteX0" fmla="*/ 2753 w 1294561"/>
                <a:gd name="connsiteY0" fmla="*/ 887809 h 1362642"/>
                <a:gd name="connsiteX1" fmla="*/ 87559 w 1294561"/>
                <a:gd name="connsiteY1" fmla="*/ 689927 h 1362642"/>
                <a:gd name="connsiteX2" fmla="*/ 223249 w 1294561"/>
                <a:gd name="connsiteY2" fmla="*/ 763426 h 1362642"/>
                <a:gd name="connsiteX3" fmla="*/ 296748 w 1294561"/>
                <a:gd name="connsiteY3" fmla="*/ 571198 h 1362642"/>
                <a:gd name="connsiteX4" fmla="*/ 296748 w 1294561"/>
                <a:gd name="connsiteY4" fmla="*/ 571029 h 1362642"/>
                <a:gd name="connsiteX5" fmla="*/ 223249 w 1294561"/>
                <a:gd name="connsiteY5" fmla="*/ 378801 h 1362642"/>
                <a:gd name="connsiteX6" fmla="*/ 87559 w 1294561"/>
                <a:gd name="connsiteY6" fmla="*/ 452300 h 1362642"/>
                <a:gd name="connsiteX7" fmla="*/ 2753 w 1294561"/>
                <a:gd name="connsiteY7" fmla="*/ 254419 h 1362642"/>
                <a:gd name="connsiteX8" fmla="*/ 76252 w 1294561"/>
                <a:gd name="connsiteY8" fmla="*/ 0 h 1362642"/>
                <a:gd name="connsiteX9" fmla="*/ 1218479 w 1294561"/>
                <a:gd name="connsiteY9" fmla="*/ 0 h 1362642"/>
                <a:gd name="connsiteX10" fmla="*/ 1291808 w 1294561"/>
                <a:gd name="connsiteY10" fmla="*/ 254249 h 1362642"/>
                <a:gd name="connsiteX11" fmla="*/ 1207002 w 1294561"/>
                <a:gd name="connsiteY11" fmla="*/ 452130 h 1362642"/>
                <a:gd name="connsiteX12" fmla="*/ 1071312 w 1294561"/>
                <a:gd name="connsiteY12" fmla="*/ 378632 h 1362642"/>
                <a:gd name="connsiteX13" fmla="*/ 997813 w 1294561"/>
                <a:gd name="connsiteY13" fmla="*/ 570859 h 1362642"/>
                <a:gd name="connsiteX14" fmla="*/ 997813 w 1294561"/>
                <a:gd name="connsiteY14" fmla="*/ 571029 h 1362642"/>
                <a:gd name="connsiteX15" fmla="*/ 1071312 w 1294561"/>
                <a:gd name="connsiteY15" fmla="*/ 763256 h 1362642"/>
                <a:gd name="connsiteX16" fmla="*/ 1207002 w 1294561"/>
                <a:gd name="connsiteY16" fmla="*/ 689758 h 1362642"/>
                <a:gd name="connsiteX17" fmla="*/ 1291808 w 1294561"/>
                <a:gd name="connsiteY17" fmla="*/ 887639 h 1362642"/>
                <a:gd name="connsiteX18" fmla="*/ 1218309 w 1294561"/>
                <a:gd name="connsiteY18" fmla="*/ 1142058 h 1362642"/>
                <a:gd name="connsiteX19" fmla="*/ 963891 w 1294561"/>
                <a:gd name="connsiteY19" fmla="*/ 1068559 h 1362642"/>
                <a:gd name="connsiteX20" fmla="*/ 766009 w 1294561"/>
                <a:gd name="connsiteY20" fmla="*/ 1153365 h 1362642"/>
                <a:gd name="connsiteX21" fmla="*/ 839508 w 1294561"/>
                <a:gd name="connsiteY21" fmla="*/ 1289055 h 1362642"/>
                <a:gd name="connsiteX22" fmla="*/ 647281 w 1294561"/>
                <a:gd name="connsiteY22" fmla="*/ 1362554 h 1362642"/>
                <a:gd name="connsiteX23" fmla="*/ 647111 w 1294561"/>
                <a:gd name="connsiteY23" fmla="*/ 1362554 h 1362642"/>
                <a:gd name="connsiteX24" fmla="*/ 454883 w 1294561"/>
                <a:gd name="connsiteY24" fmla="*/ 1289055 h 1362642"/>
                <a:gd name="connsiteX25" fmla="*/ 528382 w 1294561"/>
                <a:gd name="connsiteY25" fmla="*/ 1153365 h 1362642"/>
                <a:gd name="connsiteX26" fmla="*/ 330501 w 1294561"/>
                <a:gd name="connsiteY26" fmla="*/ 1068559 h 1362642"/>
                <a:gd name="connsiteX27" fmla="*/ 76082 w 1294561"/>
                <a:gd name="connsiteY27" fmla="*/ 1142058 h 1362642"/>
                <a:gd name="connsiteX28" fmla="*/ 2753 w 1294561"/>
                <a:gd name="connsiteY28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80501" y="152482"/>
                    <a:pt x="1291808" y="254249"/>
                  </a:cubicBezTo>
                  <a:cubicBezTo>
                    <a:pt x="1303116" y="356017"/>
                    <a:pt x="1280501" y="452130"/>
                    <a:pt x="1207002" y="452130"/>
                  </a:cubicBezTo>
                  <a:cubicBezTo>
                    <a:pt x="1133503" y="452130"/>
                    <a:pt x="1150464" y="378632"/>
                    <a:pt x="1071312" y="378632"/>
                  </a:cubicBezTo>
                  <a:cubicBezTo>
                    <a:pt x="992159" y="378632"/>
                    <a:pt x="997813" y="570859"/>
                    <a:pt x="997813" y="570859"/>
                  </a:cubicBezTo>
                  <a:lnTo>
                    <a:pt x="997813" y="571029"/>
                  </a:lnTo>
                  <a:cubicBezTo>
                    <a:pt x="997813" y="571029"/>
                    <a:pt x="992159" y="763256"/>
                    <a:pt x="1071312" y="763256"/>
                  </a:cubicBezTo>
                  <a:cubicBezTo>
                    <a:pt x="1150464" y="763256"/>
                    <a:pt x="1133503" y="689758"/>
                    <a:pt x="1207002" y="689758"/>
                  </a:cubicBezTo>
                  <a:cubicBezTo>
                    <a:pt x="1280501" y="689758"/>
                    <a:pt x="1303116" y="785871"/>
                    <a:pt x="1291808" y="887639"/>
                  </a:cubicBezTo>
                  <a:cubicBezTo>
                    <a:pt x="1280501" y="989406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ihandform: Form 44">
              <a:extLst>
                <a:ext uri="{FF2B5EF4-FFF2-40B4-BE49-F238E27FC236}">
                  <a16:creationId xmlns:a16="http://schemas.microsoft.com/office/drawing/2014/main" id="{22C194F7-5BB5-3052-0F7F-EB7F677AA02E}"/>
                </a:ext>
              </a:extLst>
            </p:cNvPr>
            <p:cNvSpPr>
              <a:spLocks/>
            </p:cNvSpPr>
            <p:nvPr/>
          </p:nvSpPr>
          <p:spPr>
            <a:xfrm>
              <a:off x="5121937" y="1233488"/>
              <a:ext cx="1122688" cy="864040"/>
            </a:xfrm>
            <a:custGeom>
              <a:avLst/>
              <a:gdLst>
                <a:gd name="connsiteX0" fmla="*/ 1362642 w 1583226"/>
                <a:gd name="connsiteY0" fmla="*/ 170 h 1218478"/>
                <a:gd name="connsiteX1" fmla="*/ 1289144 w 1583226"/>
                <a:gd name="connsiteY1" fmla="*/ 254588 h 1218478"/>
                <a:gd name="connsiteX2" fmla="*/ 1373950 w 1583226"/>
                <a:gd name="connsiteY2" fmla="*/ 452470 h 1218478"/>
                <a:gd name="connsiteX3" fmla="*/ 1509640 w 1583226"/>
                <a:gd name="connsiteY3" fmla="*/ 378971 h 1218478"/>
                <a:gd name="connsiteX4" fmla="*/ 1583139 w 1583226"/>
                <a:gd name="connsiteY4" fmla="*/ 571198 h 1218478"/>
                <a:gd name="connsiteX5" fmla="*/ 1583139 w 1583226"/>
                <a:gd name="connsiteY5" fmla="*/ 571368 h 1218478"/>
                <a:gd name="connsiteX6" fmla="*/ 1509640 w 1583226"/>
                <a:gd name="connsiteY6" fmla="*/ 763596 h 1218478"/>
                <a:gd name="connsiteX7" fmla="*/ 1373950 w 1583226"/>
                <a:gd name="connsiteY7" fmla="*/ 690097 h 1218478"/>
                <a:gd name="connsiteX8" fmla="*/ 1289144 w 1583226"/>
                <a:gd name="connsiteY8" fmla="*/ 887978 h 1218478"/>
                <a:gd name="connsiteX9" fmla="*/ 1362642 w 1583226"/>
                <a:gd name="connsiteY9" fmla="*/ 1142397 h 1218478"/>
                <a:gd name="connsiteX10" fmla="*/ 1108393 w 1583226"/>
                <a:gd name="connsiteY10" fmla="*/ 1215726 h 1218478"/>
                <a:gd name="connsiteX11" fmla="*/ 910511 w 1583226"/>
                <a:gd name="connsiteY11" fmla="*/ 1130920 h 1218478"/>
                <a:gd name="connsiteX12" fmla="*/ 984010 w 1583226"/>
                <a:gd name="connsiteY12" fmla="*/ 995230 h 1218478"/>
                <a:gd name="connsiteX13" fmla="*/ 791783 w 1583226"/>
                <a:gd name="connsiteY13" fmla="*/ 921731 h 1218478"/>
                <a:gd name="connsiteX14" fmla="*/ 791614 w 1583226"/>
                <a:gd name="connsiteY14" fmla="*/ 921731 h 1218478"/>
                <a:gd name="connsiteX15" fmla="*/ 599386 w 1583226"/>
                <a:gd name="connsiteY15" fmla="*/ 995230 h 1218478"/>
                <a:gd name="connsiteX16" fmla="*/ 672885 w 1583226"/>
                <a:gd name="connsiteY16" fmla="*/ 1130920 h 1218478"/>
                <a:gd name="connsiteX17" fmla="*/ 475003 w 1583226"/>
                <a:gd name="connsiteY17" fmla="*/ 1215726 h 1218478"/>
                <a:gd name="connsiteX18" fmla="*/ 220585 w 1583226"/>
                <a:gd name="connsiteY18" fmla="*/ 1142227 h 1218478"/>
                <a:gd name="connsiteX19" fmla="*/ 294083 w 1583226"/>
                <a:gd name="connsiteY19" fmla="*/ 887809 h 1218478"/>
                <a:gd name="connsiteX20" fmla="*/ 209277 w 1583226"/>
                <a:gd name="connsiteY20" fmla="*/ 689927 h 1218478"/>
                <a:gd name="connsiteX21" fmla="*/ 73587 w 1583226"/>
                <a:gd name="connsiteY21" fmla="*/ 763426 h 1218478"/>
                <a:gd name="connsiteX22" fmla="*/ 88 w 1583226"/>
                <a:gd name="connsiteY22" fmla="*/ 571198 h 1218478"/>
                <a:gd name="connsiteX23" fmla="*/ 88 w 1583226"/>
                <a:gd name="connsiteY23" fmla="*/ 571029 h 1218478"/>
                <a:gd name="connsiteX24" fmla="*/ 73587 w 1583226"/>
                <a:gd name="connsiteY24" fmla="*/ 378801 h 1218478"/>
                <a:gd name="connsiteX25" fmla="*/ 209277 w 1583226"/>
                <a:gd name="connsiteY25" fmla="*/ 452300 h 1218478"/>
                <a:gd name="connsiteX26" fmla="*/ 294083 w 1583226"/>
                <a:gd name="connsiteY26" fmla="*/ 254419 h 1218478"/>
                <a:gd name="connsiteX27" fmla="*/ 220585 w 1583226"/>
                <a:gd name="connsiteY27" fmla="*/ 0 h 1218478"/>
                <a:gd name="connsiteX28" fmla="*/ 1362642 w 1583226"/>
                <a:gd name="connsiteY28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8">
                  <a:moveTo>
                    <a:pt x="1362642" y="170"/>
                  </a:moveTo>
                  <a:cubicBezTo>
                    <a:pt x="1362642" y="170"/>
                    <a:pt x="1300451" y="152821"/>
                    <a:pt x="1289144" y="254588"/>
                  </a:cubicBezTo>
                  <a:cubicBezTo>
                    <a:pt x="1277836" y="356356"/>
                    <a:pt x="1300451" y="452470"/>
                    <a:pt x="1373950" y="452470"/>
                  </a:cubicBezTo>
                  <a:cubicBezTo>
                    <a:pt x="1447449" y="452470"/>
                    <a:pt x="1430487" y="378971"/>
                    <a:pt x="1509640" y="378971"/>
                  </a:cubicBezTo>
                  <a:cubicBezTo>
                    <a:pt x="1588792" y="378971"/>
                    <a:pt x="1583139" y="571198"/>
                    <a:pt x="1583139" y="571198"/>
                  </a:cubicBezTo>
                  <a:lnTo>
                    <a:pt x="1583139" y="571368"/>
                  </a:lnTo>
                  <a:cubicBezTo>
                    <a:pt x="1583139" y="571368"/>
                    <a:pt x="1588792" y="763596"/>
                    <a:pt x="1509640" y="763596"/>
                  </a:cubicBezTo>
                  <a:cubicBezTo>
                    <a:pt x="1430487" y="763596"/>
                    <a:pt x="1447449" y="690097"/>
                    <a:pt x="1373950" y="690097"/>
                  </a:cubicBezTo>
                  <a:cubicBezTo>
                    <a:pt x="1300451" y="690097"/>
                    <a:pt x="1277836" y="786211"/>
                    <a:pt x="1289144" y="887978"/>
                  </a:cubicBezTo>
                  <a:cubicBezTo>
                    <a:pt x="1300451" y="989746"/>
                    <a:pt x="1362642" y="1142397"/>
                    <a:pt x="1362642" y="1142397"/>
                  </a:cubicBezTo>
                  <a:cubicBezTo>
                    <a:pt x="1362642" y="1142397"/>
                    <a:pt x="1210160" y="1204419"/>
                    <a:pt x="1108393" y="1215726"/>
                  </a:cubicBezTo>
                  <a:cubicBezTo>
                    <a:pt x="1006625" y="1227034"/>
                    <a:pt x="910511" y="1204419"/>
                    <a:pt x="910511" y="1130920"/>
                  </a:cubicBezTo>
                  <a:cubicBezTo>
                    <a:pt x="910511" y="1057421"/>
                    <a:pt x="984010" y="1074382"/>
                    <a:pt x="984010" y="995230"/>
                  </a:cubicBezTo>
                  <a:cubicBezTo>
                    <a:pt x="984010" y="916077"/>
                    <a:pt x="791783" y="921731"/>
                    <a:pt x="791783" y="921731"/>
                  </a:cubicBezTo>
                  <a:lnTo>
                    <a:pt x="791614" y="921731"/>
                  </a:lnTo>
                  <a:cubicBezTo>
                    <a:pt x="791614" y="921731"/>
                    <a:pt x="599386" y="916077"/>
                    <a:pt x="599386" y="995230"/>
                  </a:cubicBezTo>
                  <a:cubicBezTo>
                    <a:pt x="599386" y="1074382"/>
                    <a:pt x="672885" y="1057421"/>
                    <a:pt x="672885" y="1130920"/>
                  </a:cubicBezTo>
                  <a:cubicBezTo>
                    <a:pt x="672885" y="1204419"/>
                    <a:pt x="576771" y="1227034"/>
                    <a:pt x="475003" y="1215726"/>
                  </a:cubicBezTo>
                  <a:cubicBezTo>
                    <a:pt x="373236" y="1204419"/>
                    <a:pt x="220585" y="1142227"/>
                    <a:pt x="220585" y="1142227"/>
                  </a:cubicBezTo>
                  <a:cubicBezTo>
                    <a:pt x="220585" y="1142227"/>
                    <a:pt x="282776" y="989576"/>
                    <a:pt x="294083" y="887809"/>
                  </a:cubicBezTo>
                  <a:cubicBezTo>
                    <a:pt x="305391" y="786041"/>
                    <a:pt x="282776" y="689927"/>
                    <a:pt x="209277" y="689927"/>
                  </a:cubicBezTo>
                  <a:cubicBezTo>
                    <a:pt x="135778" y="689927"/>
                    <a:pt x="152740" y="763426"/>
                    <a:pt x="73587" y="763426"/>
                  </a:cubicBezTo>
                  <a:cubicBezTo>
                    <a:pt x="-5565" y="763426"/>
                    <a:pt x="88" y="571198"/>
                    <a:pt x="88" y="571198"/>
                  </a:cubicBezTo>
                  <a:lnTo>
                    <a:pt x="88" y="571029"/>
                  </a:lnTo>
                  <a:cubicBezTo>
                    <a:pt x="88" y="571029"/>
                    <a:pt x="-5565" y="378801"/>
                    <a:pt x="73587" y="378801"/>
                  </a:cubicBezTo>
                  <a:cubicBezTo>
                    <a:pt x="152740" y="378801"/>
                    <a:pt x="135778" y="452300"/>
                    <a:pt x="209277" y="452300"/>
                  </a:cubicBezTo>
                  <a:cubicBezTo>
                    <a:pt x="282776" y="452300"/>
                    <a:pt x="305391" y="356186"/>
                    <a:pt x="294083" y="254419"/>
                  </a:cubicBezTo>
                  <a:cubicBezTo>
                    <a:pt x="282776" y="152651"/>
                    <a:pt x="220585" y="0"/>
                    <a:pt x="220585" y="0"/>
                  </a:cubicBezTo>
                  <a:lnTo>
                    <a:pt x="1362642" y="170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ihandform: Form 45">
              <a:extLst>
                <a:ext uri="{FF2B5EF4-FFF2-40B4-BE49-F238E27FC236}">
                  <a16:creationId xmlns:a16="http://schemas.microsoft.com/office/drawing/2014/main" id="{9E67F8CA-B184-4431-0171-6D42754FE415}"/>
                </a:ext>
              </a:extLst>
            </p:cNvPr>
            <p:cNvSpPr>
              <a:spLocks/>
            </p:cNvSpPr>
            <p:nvPr/>
          </p:nvSpPr>
          <p:spPr>
            <a:xfrm>
              <a:off x="5121817" y="2799236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1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10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5"/>
                    <a:pt x="599216" y="1071312"/>
                  </a:cubicBezTo>
                  <a:cubicBezTo>
                    <a:pt x="599216" y="992160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60"/>
                    <a:pt x="983841" y="1071312"/>
                  </a:cubicBezTo>
                  <a:cubicBezTo>
                    <a:pt x="983841" y="1150465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10"/>
                    <a:pt x="1362642" y="1218310"/>
                  </a:cubicBezTo>
                  <a:cubicBezTo>
                    <a:pt x="1362642" y="1218310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ihandform: Form 46">
              <a:extLst>
                <a:ext uri="{FF2B5EF4-FFF2-40B4-BE49-F238E27FC236}">
                  <a16:creationId xmlns:a16="http://schemas.microsoft.com/office/drawing/2014/main" id="{22CEB0AC-1766-E398-F5F9-7BE5FC9457B2}"/>
                </a:ext>
              </a:extLst>
            </p:cNvPr>
            <p:cNvSpPr>
              <a:spLocks/>
            </p:cNvSpPr>
            <p:nvPr/>
          </p:nvSpPr>
          <p:spPr>
            <a:xfrm>
              <a:off x="4414276" y="2696888"/>
              <a:ext cx="917992" cy="1122689"/>
            </a:xfrm>
            <a:custGeom>
              <a:avLst/>
              <a:gdLst>
                <a:gd name="connsiteX0" fmla="*/ 1291808 w 1294561"/>
                <a:gd name="connsiteY0" fmla="*/ 1108393 h 1583227"/>
                <a:gd name="connsiteX1" fmla="*/ 1207002 w 1294561"/>
                <a:gd name="connsiteY1" fmla="*/ 910512 h 1583227"/>
                <a:gd name="connsiteX2" fmla="*/ 1071312 w 1294561"/>
                <a:gd name="connsiteY2" fmla="*/ 984011 h 1583227"/>
                <a:gd name="connsiteX3" fmla="*/ 997813 w 1294561"/>
                <a:gd name="connsiteY3" fmla="*/ 791783 h 1583227"/>
                <a:gd name="connsiteX4" fmla="*/ 997813 w 1294561"/>
                <a:gd name="connsiteY4" fmla="*/ 791614 h 1583227"/>
                <a:gd name="connsiteX5" fmla="*/ 1071312 w 1294561"/>
                <a:gd name="connsiteY5" fmla="*/ 599386 h 1583227"/>
                <a:gd name="connsiteX6" fmla="*/ 1207002 w 1294561"/>
                <a:gd name="connsiteY6" fmla="*/ 672885 h 1583227"/>
                <a:gd name="connsiteX7" fmla="*/ 1291808 w 1294561"/>
                <a:gd name="connsiteY7" fmla="*/ 475003 h 1583227"/>
                <a:gd name="connsiteX8" fmla="*/ 1218309 w 1294561"/>
                <a:gd name="connsiteY8" fmla="*/ 220585 h 1583227"/>
                <a:gd name="connsiteX9" fmla="*/ 963891 w 1294561"/>
                <a:gd name="connsiteY9" fmla="*/ 294083 h 1583227"/>
                <a:gd name="connsiteX10" fmla="*/ 766009 w 1294561"/>
                <a:gd name="connsiteY10" fmla="*/ 209277 h 1583227"/>
                <a:gd name="connsiteX11" fmla="*/ 839508 w 1294561"/>
                <a:gd name="connsiteY11" fmla="*/ 73587 h 1583227"/>
                <a:gd name="connsiteX12" fmla="*/ 647281 w 1294561"/>
                <a:gd name="connsiteY12" fmla="*/ 88 h 1583227"/>
                <a:gd name="connsiteX13" fmla="*/ 647111 w 1294561"/>
                <a:gd name="connsiteY13" fmla="*/ 88 h 1583227"/>
                <a:gd name="connsiteX14" fmla="*/ 454883 w 1294561"/>
                <a:gd name="connsiteY14" fmla="*/ 73587 h 1583227"/>
                <a:gd name="connsiteX15" fmla="*/ 528382 w 1294561"/>
                <a:gd name="connsiteY15" fmla="*/ 209277 h 1583227"/>
                <a:gd name="connsiteX16" fmla="*/ 330501 w 1294561"/>
                <a:gd name="connsiteY16" fmla="*/ 294083 h 1583227"/>
                <a:gd name="connsiteX17" fmla="*/ 76082 w 1294561"/>
                <a:gd name="connsiteY17" fmla="*/ 220585 h 1583227"/>
                <a:gd name="connsiteX18" fmla="*/ 2753 w 1294561"/>
                <a:gd name="connsiteY18" fmla="*/ 474834 h 1583227"/>
                <a:gd name="connsiteX19" fmla="*/ 87559 w 1294561"/>
                <a:gd name="connsiteY19" fmla="*/ 672715 h 1583227"/>
                <a:gd name="connsiteX20" fmla="*/ 223249 w 1294561"/>
                <a:gd name="connsiteY20" fmla="*/ 599216 h 1583227"/>
                <a:gd name="connsiteX21" fmla="*/ 296748 w 1294561"/>
                <a:gd name="connsiteY21" fmla="*/ 791444 h 1583227"/>
                <a:gd name="connsiteX22" fmla="*/ 296748 w 1294561"/>
                <a:gd name="connsiteY22" fmla="*/ 791614 h 1583227"/>
                <a:gd name="connsiteX23" fmla="*/ 223249 w 1294561"/>
                <a:gd name="connsiteY23" fmla="*/ 983841 h 1583227"/>
                <a:gd name="connsiteX24" fmla="*/ 87559 w 1294561"/>
                <a:gd name="connsiteY24" fmla="*/ 910342 h 1583227"/>
                <a:gd name="connsiteX25" fmla="*/ 2753 w 1294561"/>
                <a:gd name="connsiteY25" fmla="*/ 1108224 h 1583227"/>
                <a:gd name="connsiteX26" fmla="*/ 76252 w 1294561"/>
                <a:gd name="connsiteY26" fmla="*/ 1362643 h 1583227"/>
                <a:gd name="connsiteX27" fmla="*/ 330670 w 1294561"/>
                <a:gd name="connsiteY27" fmla="*/ 1289144 h 1583227"/>
                <a:gd name="connsiteX28" fmla="*/ 528552 w 1294561"/>
                <a:gd name="connsiteY28" fmla="*/ 1373950 h 1583227"/>
                <a:gd name="connsiteX29" fmla="*/ 455053 w 1294561"/>
                <a:gd name="connsiteY29" fmla="*/ 1509640 h 1583227"/>
                <a:gd name="connsiteX30" fmla="*/ 647281 w 1294561"/>
                <a:gd name="connsiteY30" fmla="*/ 1583139 h 1583227"/>
                <a:gd name="connsiteX31" fmla="*/ 647450 w 1294561"/>
                <a:gd name="connsiteY31" fmla="*/ 1583139 h 1583227"/>
                <a:gd name="connsiteX32" fmla="*/ 839678 w 1294561"/>
                <a:gd name="connsiteY32" fmla="*/ 1509640 h 1583227"/>
                <a:gd name="connsiteX33" fmla="*/ 766179 w 1294561"/>
                <a:gd name="connsiteY33" fmla="*/ 1373950 h 1583227"/>
                <a:gd name="connsiteX34" fmla="*/ 964060 w 1294561"/>
                <a:gd name="connsiteY34" fmla="*/ 1289144 h 1583227"/>
                <a:gd name="connsiteX35" fmla="*/ 1218479 w 1294561"/>
                <a:gd name="connsiteY35" fmla="*/ 1362643 h 1583227"/>
                <a:gd name="connsiteX36" fmla="*/ 1291808 w 1294561"/>
                <a:gd name="connsiteY36" fmla="*/ 1108393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7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cubicBezTo>
                    <a:pt x="1218479" y="1362643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ihandform: Form 47">
              <a:extLst>
                <a:ext uri="{FF2B5EF4-FFF2-40B4-BE49-F238E27FC236}">
                  <a16:creationId xmlns:a16="http://schemas.microsoft.com/office/drawing/2014/main" id="{0A3BD8AC-9E18-3B69-72D7-56CE2064F35C}"/>
                </a:ext>
              </a:extLst>
            </p:cNvPr>
            <p:cNvSpPr>
              <a:spLocks/>
            </p:cNvSpPr>
            <p:nvPr/>
          </p:nvSpPr>
          <p:spPr>
            <a:xfrm>
              <a:off x="4312048" y="3609086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ihandform: Form 48">
              <a:extLst>
                <a:ext uri="{FF2B5EF4-FFF2-40B4-BE49-F238E27FC236}">
                  <a16:creationId xmlns:a16="http://schemas.microsoft.com/office/drawing/2014/main" id="{E9746090-B90A-D8A0-0F51-FF47077890FD}"/>
                </a:ext>
              </a:extLst>
            </p:cNvPr>
            <p:cNvSpPr>
              <a:spLocks/>
            </p:cNvSpPr>
            <p:nvPr/>
          </p:nvSpPr>
          <p:spPr>
            <a:xfrm>
              <a:off x="5224246" y="3506737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0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5"/>
                    <a:pt x="14060" y="910512"/>
                    <a:pt x="87559" y="910512"/>
                  </a:cubicBezTo>
                  <a:cubicBezTo>
                    <a:pt x="161058" y="910512"/>
                    <a:pt x="144097" y="984010"/>
                    <a:pt x="223249" y="984010"/>
                  </a:cubicBezTo>
                  <a:cubicBezTo>
                    <a:pt x="302402" y="984010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ihandform: Form 49">
              <a:extLst>
                <a:ext uri="{FF2B5EF4-FFF2-40B4-BE49-F238E27FC236}">
                  <a16:creationId xmlns:a16="http://schemas.microsoft.com/office/drawing/2014/main" id="{FD2CAEB0-AD83-2969-CB42-6F549819325C}"/>
                </a:ext>
              </a:extLst>
            </p:cNvPr>
            <p:cNvSpPr>
              <a:spLocks/>
            </p:cNvSpPr>
            <p:nvPr/>
          </p:nvSpPr>
          <p:spPr>
            <a:xfrm>
              <a:off x="5121817" y="4418935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1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09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4"/>
                    <a:pt x="599216" y="1071312"/>
                  </a:cubicBezTo>
                  <a:cubicBezTo>
                    <a:pt x="599216" y="992159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59"/>
                    <a:pt x="983841" y="1071312"/>
                  </a:cubicBezTo>
                  <a:cubicBezTo>
                    <a:pt x="983841" y="1150464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09"/>
                    <a:pt x="1362642" y="1218309"/>
                  </a:cubicBez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ihandform: Form 50">
              <a:extLst>
                <a:ext uri="{FF2B5EF4-FFF2-40B4-BE49-F238E27FC236}">
                  <a16:creationId xmlns:a16="http://schemas.microsoft.com/office/drawing/2014/main" id="{D6C099EC-C275-72FF-00ED-16AE8FAE60AC}"/>
                </a:ext>
              </a:extLst>
            </p:cNvPr>
            <p:cNvSpPr>
              <a:spLocks/>
            </p:cNvSpPr>
            <p:nvPr/>
          </p:nvSpPr>
          <p:spPr>
            <a:xfrm>
              <a:off x="4414276" y="4316586"/>
              <a:ext cx="917992" cy="1122688"/>
            </a:xfrm>
            <a:custGeom>
              <a:avLst/>
              <a:gdLst>
                <a:gd name="connsiteX0" fmla="*/ 1291808 w 1294561"/>
                <a:gd name="connsiteY0" fmla="*/ 1108393 h 1583226"/>
                <a:gd name="connsiteX1" fmla="*/ 1207002 w 1294561"/>
                <a:gd name="connsiteY1" fmla="*/ 910512 h 1583226"/>
                <a:gd name="connsiteX2" fmla="*/ 1071312 w 1294561"/>
                <a:gd name="connsiteY2" fmla="*/ 984010 h 1583226"/>
                <a:gd name="connsiteX3" fmla="*/ 997813 w 1294561"/>
                <a:gd name="connsiteY3" fmla="*/ 791783 h 1583226"/>
                <a:gd name="connsiteX4" fmla="*/ 997813 w 1294561"/>
                <a:gd name="connsiteY4" fmla="*/ 791614 h 1583226"/>
                <a:gd name="connsiteX5" fmla="*/ 1071312 w 1294561"/>
                <a:gd name="connsiteY5" fmla="*/ 599386 h 1583226"/>
                <a:gd name="connsiteX6" fmla="*/ 1207002 w 1294561"/>
                <a:gd name="connsiteY6" fmla="*/ 672885 h 1583226"/>
                <a:gd name="connsiteX7" fmla="*/ 1291808 w 1294561"/>
                <a:gd name="connsiteY7" fmla="*/ 475003 h 1583226"/>
                <a:gd name="connsiteX8" fmla="*/ 1218309 w 1294561"/>
                <a:gd name="connsiteY8" fmla="*/ 220585 h 1583226"/>
                <a:gd name="connsiteX9" fmla="*/ 963891 w 1294561"/>
                <a:gd name="connsiteY9" fmla="*/ 294083 h 1583226"/>
                <a:gd name="connsiteX10" fmla="*/ 766009 w 1294561"/>
                <a:gd name="connsiteY10" fmla="*/ 209277 h 1583226"/>
                <a:gd name="connsiteX11" fmla="*/ 839508 w 1294561"/>
                <a:gd name="connsiteY11" fmla="*/ 73587 h 1583226"/>
                <a:gd name="connsiteX12" fmla="*/ 647281 w 1294561"/>
                <a:gd name="connsiteY12" fmla="*/ 88 h 1583226"/>
                <a:gd name="connsiteX13" fmla="*/ 647111 w 1294561"/>
                <a:gd name="connsiteY13" fmla="*/ 88 h 1583226"/>
                <a:gd name="connsiteX14" fmla="*/ 454883 w 1294561"/>
                <a:gd name="connsiteY14" fmla="*/ 73587 h 1583226"/>
                <a:gd name="connsiteX15" fmla="*/ 528382 w 1294561"/>
                <a:gd name="connsiteY15" fmla="*/ 209277 h 1583226"/>
                <a:gd name="connsiteX16" fmla="*/ 330501 w 1294561"/>
                <a:gd name="connsiteY16" fmla="*/ 294083 h 1583226"/>
                <a:gd name="connsiteX17" fmla="*/ 76082 w 1294561"/>
                <a:gd name="connsiteY17" fmla="*/ 220585 h 1583226"/>
                <a:gd name="connsiteX18" fmla="*/ 2753 w 1294561"/>
                <a:gd name="connsiteY18" fmla="*/ 474834 h 1583226"/>
                <a:gd name="connsiteX19" fmla="*/ 87559 w 1294561"/>
                <a:gd name="connsiteY19" fmla="*/ 672715 h 1583226"/>
                <a:gd name="connsiteX20" fmla="*/ 223249 w 1294561"/>
                <a:gd name="connsiteY20" fmla="*/ 599216 h 1583226"/>
                <a:gd name="connsiteX21" fmla="*/ 296748 w 1294561"/>
                <a:gd name="connsiteY21" fmla="*/ 791444 h 1583226"/>
                <a:gd name="connsiteX22" fmla="*/ 296748 w 1294561"/>
                <a:gd name="connsiteY22" fmla="*/ 791614 h 1583226"/>
                <a:gd name="connsiteX23" fmla="*/ 223249 w 1294561"/>
                <a:gd name="connsiteY23" fmla="*/ 983841 h 1583226"/>
                <a:gd name="connsiteX24" fmla="*/ 87559 w 1294561"/>
                <a:gd name="connsiteY24" fmla="*/ 910342 h 1583226"/>
                <a:gd name="connsiteX25" fmla="*/ 2753 w 1294561"/>
                <a:gd name="connsiteY25" fmla="*/ 1108224 h 1583226"/>
                <a:gd name="connsiteX26" fmla="*/ 76252 w 1294561"/>
                <a:gd name="connsiteY26" fmla="*/ 1362642 h 1583226"/>
                <a:gd name="connsiteX27" fmla="*/ 330670 w 1294561"/>
                <a:gd name="connsiteY27" fmla="*/ 1289144 h 1583226"/>
                <a:gd name="connsiteX28" fmla="*/ 528552 w 1294561"/>
                <a:gd name="connsiteY28" fmla="*/ 1373950 h 1583226"/>
                <a:gd name="connsiteX29" fmla="*/ 455053 w 1294561"/>
                <a:gd name="connsiteY29" fmla="*/ 1509640 h 1583226"/>
                <a:gd name="connsiteX30" fmla="*/ 647281 w 1294561"/>
                <a:gd name="connsiteY30" fmla="*/ 1583139 h 1583226"/>
                <a:gd name="connsiteX31" fmla="*/ 647450 w 1294561"/>
                <a:gd name="connsiteY31" fmla="*/ 1583139 h 1583226"/>
                <a:gd name="connsiteX32" fmla="*/ 839678 w 1294561"/>
                <a:gd name="connsiteY32" fmla="*/ 1509640 h 1583226"/>
                <a:gd name="connsiteX33" fmla="*/ 766179 w 1294561"/>
                <a:gd name="connsiteY33" fmla="*/ 1373950 h 1583226"/>
                <a:gd name="connsiteX34" fmla="*/ 964060 w 1294561"/>
                <a:gd name="connsiteY34" fmla="*/ 1289144 h 1583226"/>
                <a:gd name="connsiteX35" fmla="*/ 1218479 w 1294561"/>
                <a:gd name="connsiteY35" fmla="*/ 1362642 h 1583226"/>
                <a:gd name="connsiteX36" fmla="*/ 1291808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1291808" y="1108393"/>
                  </a:moveTo>
                  <a:cubicBezTo>
                    <a:pt x="1303116" y="1006625"/>
                    <a:pt x="1280501" y="910512"/>
                    <a:pt x="1207002" y="910512"/>
                  </a:cubicBezTo>
                  <a:cubicBezTo>
                    <a:pt x="1133503" y="910512"/>
                    <a:pt x="1150464" y="984010"/>
                    <a:pt x="1071312" y="984010"/>
                  </a:cubicBezTo>
                  <a:cubicBezTo>
                    <a:pt x="992159" y="984010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cubicBezTo>
                    <a:pt x="76252" y="1362642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7"/>
                    <a:pt x="455053" y="1509640"/>
                  </a:cubicBezTo>
                  <a:cubicBezTo>
                    <a:pt x="455053" y="1588792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2"/>
                    <a:pt x="839678" y="1509640"/>
                  </a:cubicBezTo>
                  <a:cubicBezTo>
                    <a:pt x="839678" y="1430487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2"/>
                    <a:pt x="1218479" y="1362642"/>
                  </a:cubicBez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ihandform: Form 51">
              <a:extLst>
                <a:ext uri="{FF2B5EF4-FFF2-40B4-BE49-F238E27FC236}">
                  <a16:creationId xmlns:a16="http://schemas.microsoft.com/office/drawing/2014/main" id="{A030F028-ABF8-5E61-E54C-F859A96C602F}"/>
                </a:ext>
              </a:extLst>
            </p:cNvPr>
            <p:cNvSpPr>
              <a:spLocks/>
            </p:cNvSpPr>
            <p:nvPr/>
          </p:nvSpPr>
          <p:spPr>
            <a:xfrm>
              <a:off x="5224406" y="5126436"/>
              <a:ext cx="917992" cy="966269"/>
            </a:xfrm>
            <a:custGeom>
              <a:avLst/>
              <a:gdLst>
                <a:gd name="connsiteX0" fmla="*/ 1291808 w 1294561"/>
                <a:gd name="connsiteY0" fmla="*/ 1108393 h 1362642"/>
                <a:gd name="connsiteX1" fmla="*/ 1207002 w 1294561"/>
                <a:gd name="connsiteY1" fmla="*/ 910512 h 1362642"/>
                <a:gd name="connsiteX2" fmla="*/ 1071312 w 1294561"/>
                <a:gd name="connsiteY2" fmla="*/ 984011 h 1362642"/>
                <a:gd name="connsiteX3" fmla="*/ 997813 w 1294561"/>
                <a:gd name="connsiteY3" fmla="*/ 791783 h 1362642"/>
                <a:gd name="connsiteX4" fmla="*/ 997813 w 1294561"/>
                <a:gd name="connsiteY4" fmla="*/ 791614 h 1362642"/>
                <a:gd name="connsiteX5" fmla="*/ 1071312 w 1294561"/>
                <a:gd name="connsiteY5" fmla="*/ 599386 h 1362642"/>
                <a:gd name="connsiteX6" fmla="*/ 1207002 w 1294561"/>
                <a:gd name="connsiteY6" fmla="*/ 672885 h 1362642"/>
                <a:gd name="connsiteX7" fmla="*/ 1291808 w 1294561"/>
                <a:gd name="connsiteY7" fmla="*/ 475003 h 1362642"/>
                <a:gd name="connsiteX8" fmla="*/ 1218309 w 1294561"/>
                <a:gd name="connsiteY8" fmla="*/ 220585 h 1362642"/>
                <a:gd name="connsiteX9" fmla="*/ 963891 w 1294561"/>
                <a:gd name="connsiteY9" fmla="*/ 294083 h 1362642"/>
                <a:gd name="connsiteX10" fmla="*/ 766009 w 1294561"/>
                <a:gd name="connsiteY10" fmla="*/ 209277 h 1362642"/>
                <a:gd name="connsiteX11" fmla="*/ 839508 w 1294561"/>
                <a:gd name="connsiteY11" fmla="*/ 73587 h 1362642"/>
                <a:gd name="connsiteX12" fmla="*/ 647281 w 1294561"/>
                <a:gd name="connsiteY12" fmla="*/ 88 h 1362642"/>
                <a:gd name="connsiteX13" fmla="*/ 647111 w 1294561"/>
                <a:gd name="connsiteY13" fmla="*/ 88 h 1362642"/>
                <a:gd name="connsiteX14" fmla="*/ 454884 w 1294561"/>
                <a:gd name="connsiteY14" fmla="*/ 73587 h 1362642"/>
                <a:gd name="connsiteX15" fmla="*/ 528383 w 1294561"/>
                <a:gd name="connsiteY15" fmla="*/ 209277 h 1362642"/>
                <a:gd name="connsiteX16" fmla="*/ 330501 w 1294561"/>
                <a:gd name="connsiteY16" fmla="*/ 294083 h 1362642"/>
                <a:gd name="connsiteX17" fmla="*/ 76083 w 1294561"/>
                <a:gd name="connsiteY17" fmla="*/ 220585 h 1362642"/>
                <a:gd name="connsiteX18" fmla="*/ 2753 w 1294561"/>
                <a:gd name="connsiteY18" fmla="*/ 474834 h 1362642"/>
                <a:gd name="connsiteX19" fmla="*/ 87559 w 1294561"/>
                <a:gd name="connsiteY19" fmla="*/ 672715 h 1362642"/>
                <a:gd name="connsiteX20" fmla="*/ 223249 w 1294561"/>
                <a:gd name="connsiteY20" fmla="*/ 599216 h 1362642"/>
                <a:gd name="connsiteX21" fmla="*/ 296748 w 1294561"/>
                <a:gd name="connsiteY21" fmla="*/ 791444 h 1362642"/>
                <a:gd name="connsiteX22" fmla="*/ 296748 w 1294561"/>
                <a:gd name="connsiteY22" fmla="*/ 791614 h 1362642"/>
                <a:gd name="connsiteX23" fmla="*/ 223249 w 1294561"/>
                <a:gd name="connsiteY23" fmla="*/ 983841 h 1362642"/>
                <a:gd name="connsiteX24" fmla="*/ 87559 w 1294561"/>
                <a:gd name="connsiteY24" fmla="*/ 910342 h 1362642"/>
                <a:gd name="connsiteX25" fmla="*/ 2753 w 1294561"/>
                <a:gd name="connsiteY25" fmla="*/ 1108224 h 1362642"/>
                <a:gd name="connsiteX26" fmla="*/ 76252 w 1294561"/>
                <a:gd name="connsiteY26" fmla="*/ 1362642 h 1362642"/>
                <a:gd name="connsiteX27" fmla="*/ 1218479 w 1294561"/>
                <a:gd name="connsiteY27" fmla="*/ 1362642 h 1362642"/>
                <a:gd name="connsiteX28" fmla="*/ 1291808 w 1294561"/>
                <a:gd name="connsiteY28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4" y="-5565"/>
                    <a:pt x="454884" y="73587"/>
                  </a:cubicBezTo>
                  <a:cubicBezTo>
                    <a:pt x="454884" y="152740"/>
                    <a:pt x="528383" y="135778"/>
                    <a:pt x="528383" y="209277"/>
                  </a:cubicBezTo>
                  <a:cubicBezTo>
                    <a:pt x="528383" y="282776"/>
                    <a:pt x="432269" y="305391"/>
                    <a:pt x="330501" y="294083"/>
                  </a:cubicBezTo>
                  <a:cubicBezTo>
                    <a:pt x="228734" y="282776"/>
                    <a:pt x="76083" y="220585"/>
                    <a:pt x="76083" y="220585"/>
                  </a:cubicBezTo>
                  <a:cubicBezTo>
                    <a:pt x="76083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lnTo>
                    <a:pt x="1218479" y="1362642"/>
                  </a:ln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ihandform: Form 52">
              <a:extLst>
                <a:ext uri="{FF2B5EF4-FFF2-40B4-BE49-F238E27FC236}">
                  <a16:creationId xmlns:a16="http://schemas.microsoft.com/office/drawing/2014/main" id="{C2015C09-4D8F-6F83-B4AC-DBE758D58306}"/>
                </a:ext>
              </a:extLst>
            </p:cNvPr>
            <p:cNvSpPr>
              <a:spLocks/>
            </p:cNvSpPr>
            <p:nvPr/>
          </p:nvSpPr>
          <p:spPr>
            <a:xfrm>
              <a:off x="4312168" y="5228784"/>
              <a:ext cx="1122689" cy="864041"/>
            </a:xfrm>
            <a:custGeom>
              <a:avLst/>
              <a:gdLst>
                <a:gd name="connsiteX0" fmla="*/ 1108393 w 1583227"/>
                <a:gd name="connsiteY0" fmla="*/ 2753 h 1218479"/>
                <a:gd name="connsiteX1" fmla="*/ 910512 w 1583227"/>
                <a:gd name="connsiteY1" fmla="*/ 87559 h 1218479"/>
                <a:gd name="connsiteX2" fmla="*/ 984010 w 1583227"/>
                <a:gd name="connsiteY2" fmla="*/ 223249 h 1218479"/>
                <a:gd name="connsiteX3" fmla="*/ 791783 w 1583227"/>
                <a:gd name="connsiteY3" fmla="*/ 296748 h 1218479"/>
                <a:gd name="connsiteX4" fmla="*/ 791614 w 1583227"/>
                <a:gd name="connsiteY4" fmla="*/ 296748 h 1218479"/>
                <a:gd name="connsiteX5" fmla="*/ 599386 w 1583227"/>
                <a:gd name="connsiteY5" fmla="*/ 223249 h 1218479"/>
                <a:gd name="connsiteX6" fmla="*/ 672885 w 1583227"/>
                <a:gd name="connsiteY6" fmla="*/ 87559 h 1218479"/>
                <a:gd name="connsiteX7" fmla="*/ 475004 w 1583227"/>
                <a:gd name="connsiteY7" fmla="*/ 2753 h 1218479"/>
                <a:gd name="connsiteX8" fmla="*/ 220585 w 1583227"/>
                <a:gd name="connsiteY8" fmla="*/ 76252 h 1218479"/>
                <a:gd name="connsiteX9" fmla="*/ 294083 w 1583227"/>
                <a:gd name="connsiteY9" fmla="*/ 330670 h 1218479"/>
                <a:gd name="connsiteX10" fmla="*/ 209277 w 1583227"/>
                <a:gd name="connsiteY10" fmla="*/ 528552 h 1218479"/>
                <a:gd name="connsiteX11" fmla="*/ 73587 w 1583227"/>
                <a:gd name="connsiteY11" fmla="*/ 455053 h 1218479"/>
                <a:gd name="connsiteX12" fmla="*/ 88 w 1583227"/>
                <a:gd name="connsiteY12" fmla="*/ 647281 h 1218479"/>
                <a:gd name="connsiteX13" fmla="*/ 88 w 1583227"/>
                <a:gd name="connsiteY13" fmla="*/ 647450 h 1218479"/>
                <a:gd name="connsiteX14" fmla="*/ 73587 w 1583227"/>
                <a:gd name="connsiteY14" fmla="*/ 839678 h 1218479"/>
                <a:gd name="connsiteX15" fmla="*/ 209277 w 1583227"/>
                <a:gd name="connsiteY15" fmla="*/ 766179 h 1218479"/>
                <a:gd name="connsiteX16" fmla="*/ 294083 w 1583227"/>
                <a:gd name="connsiteY16" fmla="*/ 964060 h 1218479"/>
                <a:gd name="connsiteX17" fmla="*/ 220585 w 1583227"/>
                <a:gd name="connsiteY17" fmla="*/ 1218479 h 1218479"/>
                <a:gd name="connsiteX18" fmla="*/ 1362643 w 1583227"/>
                <a:gd name="connsiteY18" fmla="*/ 1218309 h 1218479"/>
                <a:gd name="connsiteX19" fmla="*/ 1289144 w 1583227"/>
                <a:gd name="connsiteY19" fmla="*/ 963891 h 1218479"/>
                <a:gd name="connsiteX20" fmla="*/ 1373950 w 1583227"/>
                <a:gd name="connsiteY20" fmla="*/ 766009 h 1218479"/>
                <a:gd name="connsiteX21" fmla="*/ 1509640 w 1583227"/>
                <a:gd name="connsiteY21" fmla="*/ 839508 h 1218479"/>
                <a:gd name="connsiteX22" fmla="*/ 1583139 w 1583227"/>
                <a:gd name="connsiteY22" fmla="*/ 647281 h 1218479"/>
                <a:gd name="connsiteX23" fmla="*/ 1583139 w 1583227"/>
                <a:gd name="connsiteY23" fmla="*/ 647111 h 1218479"/>
                <a:gd name="connsiteX24" fmla="*/ 1509640 w 1583227"/>
                <a:gd name="connsiteY24" fmla="*/ 454883 h 1218479"/>
                <a:gd name="connsiteX25" fmla="*/ 1373950 w 1583227"/>
                <a:gd name="connsiteY25" fmla="*/ 528382 h 1218479"/>
                <a:gd name="connsiteX26" fmla="*/ 1289144 w 1583227"/>
                <a:gd name="connsiteY26" fmla="*/ 330501 h 1218479"/>
                <a:gd name="connsiteX27" fmla="*/ 1362643 w 1583227"/>
                <a:gd name="connsiteY27" fmla="*/ 76082 h 1218479"/>
                <a:gd name="connsiteX28" fmla="*/ 1108393 w 1583227"/>
                <a:gd name="connsiteY28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7" h="1218479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4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3" y="1218309"/>
                  </a:lnTo>
                  <a:cubicBezTo>
                    <a:pt x="1362643" y="1218309"/>
                    <a:pt x="1300452" y="1065658"/>
                    <a:pt x="1289144" y="963891"/>
                  </a:cubicBezTo>
                  <a:cubicBezTo>
                    <a:pt x="1277836" y="862123"/>
                    <a:pt x="1300452" y="766009"/>
                    <a:pt x="1373950" y="766009"/>
                  </a:cubicBezTo>
                  <a:cubicBezTo>
                    <a:pt x="1447449" y="766009"/>
                    <a:pt x="1430488" y="839508"/>
                    <a:pt x="1509640" y="839508"/>
                  </a:cubicBezTo>
                  <a:cubicBezTo>
                    <a:pt x="1588793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3" y="454883"/>
                    <a:pt x="1509640" y="454883"/>
                  </a:cubicBezTo>
                  <a:cubicBezTo>
                    <a:pt x="1430488" y="454883"/>
                    <a:pt x="1447449" y="528382"/>
                    <a:pt x="1373950" y="528382"/>
                  </a:cubicBezTo>
                  <a:cubicBezTo>
                    <a:pt x="1300452" y="528382"/>
                    <a:pt x="1277836" y="432268"/>
                    <a:pt x="1289144" y="330501"/>
                  </a:cubicBezTo>
                  <a:cubicBezTo>
                    <a:pt x="1300452" y="228733"/>
                    <a:pt x="1362643" y="76082"/>
                    <a:pt x="1362643" y="76082"/>
                  </a:cubicBezTo>
                  <a:cubicBezTo>
                    <a:pt x="1362643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ihandform: Form 53">
              <a:extLst>
                <a:ext uri="{FF2B5EF4-FFF2-40B4-BE49-F238E27FC236}">
                  <a16:creationId xmlns:a16="http://schemas.microsoft.com/office/drawing/2014/main" id="{3D7448B5-31F4-98D0-A119-832075A2FD8D}"/>
                </a:ext>
              </a:extLst>
            </p:cNvPr>
            <p:cNvSpPr>
              <a:spLocks/>
            </p:cNvSpPr>
            <p:nvPr/>
          </p:nvSpPr>
          <p:spPr>
            <a:xfrm>
              <a:off x="5931747" y="1989387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ihandform: Form 54">
              <a:extLst>
                <a:ext uri="{FF2B5EF4-FFF2-40B4-BE49-F238E27FC236}">
                  <a16:creationId xmlns:a16="http://schemas.microsoft.com/office/drawing/2014/main" id="{6BB60D9F-3B67-1A56-211E-3C723C0DC5AC}"/>
                </a:ext>
              </a:extLst>
            </p:cNvPr>
            <p:cNvSpPr>
              <a:spLocks/>
            </p:cNvSpPr>
            <p:nvPr/>
          </p:nvSpPr>
          <p:spPr>
            <a:xfrm>
              <a:off x="6843944" y="1887038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1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6"/>
                    <a:pt x="14060" y="910512"/>
                    <a:pt x="87559" y="910512"/>
                  </a:cubicBezTo>
                  <a:cubicBezTo>
                    <a:pt x="161058" y="910512"/>
                    <a:pt x="144097" y="984011"/>
                    <a:pt x="223249" y="984011"/>
                  </a:cubicBezTo>
                  <a:cubicBezTo>
                    <a:pt x="302402" y="984011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ihandform: Form 55">
              <a:extLst>
                <a:ext uri="{FF2B5EF4-FFF2-40B4-BE49-F238E27FC236}">
                  <a16:creationId xmlns:a16="http://schemas.microsoft.com/office/drawing/2014/main" id="{13D606DE-5921-AEB9-EC98-851BBA5DCC34}"/>
                </a:ext>
              </a:extLst>
            </p:cNvPr>
            <p:cNvSpPr>
              <a:spLocks/>
            </p:cNvSpPr>
            <p:nvPr/>
          </p:nvSpPr>
          <p:spPr>
            <a:xfrm>
              <a:off x="6034095" y="1233609"/>
              <a:ext cx="917992" cy="966269"/>
            </a:xfrm>
            <a:custGeom>
              <a:avLst/>
              <a:gdLst>
                <a:gd name="connsiteX0" fmla="*/ 2753 w 1294561"/>
                <a:gd name="connsiteY0" fmla="*/ 887809 h 1362642"/>
                <a:gd name="connsiteX1" fmla="*/ 87559 w 1294561"/>
                <a:gd name="connsiteY1" fmla="*/ 689927 h 1362642"/>
                <a:gd name="connsiteX2" fmla="*/ 223249 w 1294561"/>
                <a:gd name="connsiteY2" fmla="*/ 763426 h 1362642"/>
                <a:gd name="connsiteX3" fmla="*/ 296748 w 1294561"/>
                <a:gd name="connsiteY3" fmla="*/ 571198 h 1362642"/>
                <a:gd name="connsiteX4" fmla="*/ 296748 w 1294561"/>
                <a:gd name="connsiteY4" fmla="*/ 571029 h 1362642"/>
                <a:gd name="connsiteX5" fmla="*/ 223249 w 1294561"/>
                <a:gd name="connsiteY5" fmla="*/ 378801 h 1362642"/>
                <a:gd name="connsiteX6" fmla="*/ 87559 w 1294561"/>
                <a:gd name="connsiteY6" fmla="*/ 452300 h 1362642"/>
                <a:gd name="connsiteX7" fmla="*/ 2753 w 1294561"/>
                <a:gd name="connsiteY7" fmla="*/ 254419 h 1362642"/>
                <a:gd name="connsiteX8" fmla="*/ 76252 w 1294561"/>
                <a:gd name="connsiteY8" fmla="*/ 0 h 1362642"/>
                <a:gd name="connsiteX9" fmla="*/ 1218479 w 1294561"/>
                <a:gd name="connsiteY9" fmla="*/ 0 h 1362642"/>
                <a:gd name="connsiteX10" fmla="*/ 1291808 w 1294561"/>
                <a:gd name="connsiteY10" fmla="*/ 254249 h 1362642"/>
                <a:gd name="connsiteX11" fmla="*/ 1207002 w 1294561"/>
                <a:gd name="connsiteY11" fmla="*/ 452130 h 1362642"/>
                <a:gd name="connsiteX12" fmla="*/ 1071312 w 1294561"/>
                <a:gd name="connsiteY12" fmla="*/ 378632 h 1362642"/>
                <a:gd name="connsiteX13" fmla="*/ 997813 w 1294561"/>
                <a:gd name="connsiteY13" fmla="*/ 570859 h 1362642"/>
                <a:gd name="connsiteX14" fmla="*/ 997813 w 1294561"/>
                <a:gd name="connsiteY14" fmla="*/ 571029 h 1362642"/>
                <a:gd name="connsiteX15" fmla="*/ 1071312 w 1294561"/>
                <a:gd name="connsiteY15" fmla="*/ 763256 h 1362642"/>
                <a:gd name="connsiteX16" fmla="*/ 1207002 w 1294561"/>
                <a:gd name="connsiteY16" fmla="*/ 689758 h 1362642"/>
                <a:gd name="connsiteX17" fmla="*/ 1291808 w 1294561"/>
                <a:gd name="connsiteY17" fmla="*/ 887639 h 1362642"/>
                <a:gd name="connsiteX18" fmla="*/ 1218309 w 1294561"/>
                <a:gd name="connsiteY18" fmla="*/ 1142058 h 1362642"/>
                <a:gd name="connsiteX19" fmla="*/ 963891 w 1294561"/>
                <a:gd name="connsiteY19" fmla="*/ 1068559 h 1362642"/>
                <a:gd name="connsiteX20" fmla="*/ 766009 w 1294561"/>
                <a:gd name="connsiteY20" fmla="*/ 1153365 h 1362642"/>
                <a:gd name="connsiteX21" fmla="*/ 839508 w 1294561"/>
                <a:gd name="connsiteY21" fmla="*/ 1289055 h 1362642"/>
                <a:gd name="connsiteX22" fmla="*/ 647281 w 1294561"/>
                <a:gd name="connsiteY22" fmla="*/ 1362554 h 1362642"/>
                <a:gd name="connsiteX23" fmla="*/ 647111 w 1294561"/>
                <a:gd name="connsiteY23" fmla="*/ 1362554 h 1362642"/>
                <a:gd name="connsiteX24" fmla="*/ 454883 w 1294561"/>
                <a:gd name="connsiteY24" fmla="*/ 1289055 h 1362642"/>
                <a:gd name="connsiteX25" fmla="*/ 528382 w 1294561"/>
                <a:gd name="connsiteY25" fmla="*/ 1153365 h 1362642"/>
                <a:gd name="connsiteX26" fmla="*/ 330501 w 1294561"/>
                <a:gd name="connsiteY26" fmla="*/ 1068559 h 1362642"/>
                <a:gd name="connsiteX27" fmla="*/ 76082 w 1294561"/>
                <a:gd name="connsiteY27" fmla="*/ 1142058 h 1362642"/>
                <a:gd name="connsiteX28" fmla="*/ 2753 w 1294561"/>
                <a:gd name="connsiteY28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80501" y="152482"/>
                    <a:pt x="1291808" y="254249"/>
                  </a:cubicBezTo>
                  <a:cubicBezTo>
                    <a:pt x="1303116" y="356017"/>
                    <a:pt x="1280501" y="452130"/>
                    <a:pt x="1207002" y="452130"/>
                  </a:cubicBezTo>
                  <a:cubicBezTo>
                    <a:pt x="1133503" y="452130"/>
                    <a:pt x="1150464" y="378632"/>
                    <a:pt x="1071312" y="378632"/>
                  </a:cubicBezTo>
                  <a:cubicBezTo>
                    <a:pt x="992159" y="378632"/>
                    <a:pt x="997813" y="570859"/>
                    <a:pt x="997813" y="570859"/>
                  </a:cubicBezTo>
                  <a:lnTo>
                    <a:pt x="997813" y="571029"/>
                  </a:lnTo>
                  <a:cubicBezTo>
                    <a:pt x="997813" y="571029"/>
                    <a:pt x="992159" y="763256"/>
                    <a:pt x="1071312" y="763256"/>
                  </a:cubicBezTo>
                  <a:cubicBezTo>
                    <a:pt x="1150464" y="763256"/>
                    <a:pt x="1133503" y="689758"/>
                    <a:pt x="1207002" y="689758"/>
                  </a:cubicBezTo>
                  <a:cubicBezTo>
                    <a:pt x="1280501" y="689758"/>
                    <a:pt x="1303116" y="785871"/>
                    <a:pt x="1291808" y="887639"/>
                  </a:cubicBezTo>
                  <a:cubicBezTo>
                    <a:pt x="1280501" y="989406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ihandform: Form 56">
              <a:extLst>
                <a:ext uri="{FF2B5EF4-FFF2-40B4-BE49-F238E27FC236}">
                  <a16:creationId xmlns:a16="http://schemas.microsoft.com/office/drawing/2014/main" id="{CDA91965-FD45-3B85-50EC-84A7A67E67DD}"/>
                </a:ext>
              </a:extLst>
            </p:cNvPr>
            <p:cNvSpPr>
              <a:spLocks/>
            </p:cNvSpPr>
            <p:nvPr/>
          </p:nvSpPr>
          <p:spPr>
            <a:xfrm>
              <a:off x="6741636" y="1233488"/>
              <a:ext cx="1122688" cy="864040"/>
            </a:xfrm>
            <a:custGeom>
              <a:avLst/>
              <a:gdLst>
                <a:gd name="connsiteX0" fmla="*/ 1362642 w 1583226"/>
                <a:gd name="connsiteY0" fmla="*/ 170 h 1218478"/>
                <a:gd name="connsiteX1" fmla="*/ 1289144 w 1583226"/>
                <a:gd name="connsiteY1" fmla="*/ 254588 h 1218478"/>
                <a:gd name="connsiteX2" fmla="*/ 1373950 w 1583226"/>
                <a:gd name="connsiteY2" fmla="*/ 452470 h 1218478"/>
                <a:gd name="connsiteX3" fmla="*/ 1509640 w 1583226"/>
                <a:gd name="connsiteY3" fmla="*/ 378971 h 1218478"/>
                <a:gd name="connsiteX4" fmla="*/ 1583139 w 1583226"/>
                <a:gd name="connsiteY4" fmla="*/ 571198 h 1218478"/>
                <a:gd name="connsiteX5" fmla="*/ 1583139 w 1583226"/>
                <a:gd name="connsiteY5" fmla="*/ 571368 h 1218478"/>
                <a:gd name="connsiteX6" fmla="*/ 1509640 w 1583226"/>
                <a:gd name="connsiteY6" fmla="*/ 763596 h 1218478"/>
                <a:gd name="connsiteX7" fmla="*/ 1373950 w 1583226"/>
                <a:gd name="connsiteY7" fmla="*/ 690097 h 1218478"/>
                <a:gd name="connsiteX8" fmla="*/ 1289144 w 1583226"/>
                <a:gd name="connsiteY8" fmla="*/ 887978 h 1218478"/>
                <a:gd name="connsiteX9" fmla="*/ 1362642 w 1583226"/>
                <a:gd name="connsiteY9" fmla="*/ 1142397 h 1218478"/>
                <a:gd name="connsiteX10" fmla="*/ 1108393 w 1583226"/>
                <a:gd name="connsiteY10" fmla="*/ 1215726 h 1218478"/>
                <a:gd name="connsiteX11" fmla="*/ 910511 w 1583226"/>
                <a:gd name="connsiteY11" fmla="*/ 1130920 h 1218478"/>
                <a:gd name="connsiteX12" fmla="*/ 984010 w 1583226"/>
                <a:gd name="connsiteY12" fmla="*/ 995230 h 1218478"/>
                <a:gd name="connsiteX13" fmla="*/ 791783 w 1583226"/>
                <a:gd name="connsiteY13" fmla="*/ 921731 h 1218478"/>
                <a:gd name="connsiteX14" fmla="*/ 791614 w 1583226"/>
                <a:gd name="connsiteY14" fmla="*/ 921731 h 1218478"/>
                <a:gd name="connsiteX15" fmla="*/ 599386 w 1583226"/>
                <a:gd name="connsiteY15" fmla="*/ 995230 h 1218478"/>
                <a:gd name="connsiteX16" fmla="*/ 672885 w 1583226"/>
                <a:gd name="connsiteY16" fmla="*/ 1130920 h 1218478"/>
                <a:gd name="connsiteX17" fmla="*/ 475003 w 1583226"/>
                <a:gd name="connsiteY17" fmla="*/ 1215726 h 1218478"/>
                <a:gd name="connsiteX18" fmla="*/ 220585 w 1583226"/>
                <a:gd name="connsiteY18" fmla="*/ 1142227 h 1218478"/>
                <a:gd name="connsiteX19" fmla="*/ 294083 w 1583226"/>
                <a:gd name="connsiteY19" fmla="*/ 887809 h 1218478"/>
                <a:gd name="connsiteX20" fmla="*/ 209277 w 1583226"/>
                <a:gd name="connsiteY20" fmla="*/ 689927 h 1218478"/>
                <a:gd name="connsiteX21" fmla="*/ 73587 w 1583226"/>
                <a:gd name="connsiteY21" fmla="*/ 763426 h 1218478"/>
                <a:gd name="connsiteX22" fmla="*/ 88 w 1583226"/>
                <a:gd name="connsiteY22" fmla="*/ 571198 h 1218478"/>
                <a:gd name="connsiteX23" fmla="*/ 88 w 1583226"/>
                <a:gd name="connsiteY23" fmla="*/ 571029 h 1218478"/>
                <a:gd name="connsiteX24" fmla="*/ 73587 w 1583226"/>
                <a:gd name="connsiteY24" fmla="*/ 378801 h 1218478"/>
                <a:gd name="connsiteX25" fmla="*/ 209277 w 1583226"/>
                <a:gd name="connsiteY25" fmla="*/ 452300 h 1218478"/>
                <a:gd name="connsiteX26" fmla="*/ 294083 w 1583226"/>
                <a:gd name="connsiteY26" fmla="*/ 254419 h 1218478"/>
                <a:gd name="connsiteX27" fmla="*/ 220585 w 1583226"/>
                <a:gd name="connsiteY27" fmla="*/ 0 h 1218478"/>
                <a:gd name="connsiteX28" fmla="*/ 1362642 w 1583226"/>
                <a:gd name="connsiteY28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8">
                  <a:moveTo>
                    <a:pt x="1362642" y="170"/>
                  </a:moveTo>
                  <a:cubicBezTo>
                    <a:pt x="1362642" y="170"/>
                    <a:pt x="1300451" y="152821"/>
                    <a:pt x="1289144" y="254588"/>
                  </a:cubicBezTo>
                  <a:cubicBezTo>
                    <a:pt x="1277836" y="356356"/>
                    <a:pt x="1300451" y="452470"/>
                    <a:pt x="1373950" y="452470"/>
                  </a:cubicBezTo>
                  <a:cubicBezTo>
                    <a:pt x="1447449" y="452470"/>
                    <a:pt x="1430487" y="378971"/>
                    <a:pt x="1509640" y="378971"/>
                  </a:cubicBezTo>
                  <a:cubicBezTo>
                    <a:pt x="1588792" y="378971"/>
                    <a:pt x="1583139" y="571198"/>
                    <a:pt x="1583139" y="571198"/>
                  </a:cubicBezTo>
                  <a:lnTo>
                    <a:pt x="1583139" y="571368"/>
                  </a:lnTo>
                  <a:cubicBezTo>
                    <a:pt x="1583139" y="571368"/>
                    <a:pt x="1588792" y="763596"/>
                    <a:pt x="1509640" y="763596"/>
                  </a:cubicBezTo>
                  <a:cubicBezTo>
                    <a:pt x="1430487" y="763596"/>
                    <a:pt x="1447449" y="690097"/>
                    <a:pt x="1373950" y="690097"/>
                  </a:cubicBezTo>
                  <a:cubicBezTo>
                    <a:pt x="1300451" y="690097"/>
                    <a:pt x="1277836" y="786211"/>
                    <a:pt x="1289144" y="887978"/>
                  </a:cubicBezTo>
                  <a:cubicBezTo>
                    <a:pt x="1300451" y="989746"/>
                    <a:pt x="1362642" y="1142397"/>
                    <a:pt x="1362642" y="1142397"/>
                  </a:cubicBezTo>
                  <a:cubicBezTo>
                    <a:pt x="1362642" y="1142397"/>
                    <a:pt x="1210160" y="1204419"/>
                    <a:pt x="1108393" y="1215726"/>
                  </a:cubicBezTo>
                  <a:cubicBezTo>
                    <a:pt x="1006625" y="1227034"/>
                    <a:pt x="910511" y="1204419"/>
                    <a:pt x="910511" y="1130920"/>
                  </a:cubicBezTo>
                  <a:cubicBezTo>
                    <a:pt x="910511" y="1057421"/>
                    <a:pt x="984010" y="1074382"/>
                    <a:pt x="984010" y="995230"/>
                  </a:cubicBezTo>
                  <a:cubicBezTo>
                    <a:pt x="984010" y="916077"/>
                    <a:pt x="791783" y="921731"/>
                    <a:pt x="791783" y="921731"/>
                  </a:cubicBezTo>
                  <a:lnTo>
                    <a:pt x="791614" y="921731"/>
                  </a:lnTo>
                  <a:cubicBezTo>
                    <a:pt x="791614" y="921731"/>
                    <a:pt x="599386" y="916077"/>
                    <a:pt x="599386" y="995230"/>
                  </a:cubicBezTo>
                  <a:cubicBezTo>
                    <a:pt x="599386" y="1074382"/>
                    <a:pt x="672885" y="1057421"/>
                    <a:pt x="672885" y="1130920"/>
                  </a:cubicBezTo>
                  <a:cubicBezTo>
                    <a:pt x="672885" y="1204419"/>
                    <a:pt x="576771" y="1227034"/>
                    <a:pt x="475003" y="1215726"/>
                  </a:cubicBezTo>
                  <a:cubicBezTo>
                    <a:pt x="373236" y="1204419"/>
                    <a:pt x="220585" y="1142227"/>
                    <a:pt x="220585" y="1142227"/>
                  </a:cubicBezTo>
                  <a:cubicBezTo>
                    <a:pt x="220585" y="1142227"/>
                    <a:pt x="282776" y="989576"/>
                    <a:pt x="294083" y="887809"/>
                  </a:cubicBezTo>
                  <a:cubicBezTo>
                    <a:pt x="305391" y="786041"/>
                    <a:pt x="282776" y="689927"/>
                    <a:pt x="209277" y="689927"/>
                  </a:cubicBezTo>
                  <a:cubicBezTo>
                    <a:pt x="135778" y="689927"/>
                    <a:pt x="152740" y="763426"/>
                    <a:pt x="73587" y="763426"/>
                  </a:cubicBezTo>
                  <a:cubicBezTo>
                    <a:pt x="-5565" y="763426"/>
                    <a:pt x="88" y="571198"/>
                    <a:pt x="88" y="571198"/>
                  </a:cubicBezTo>
                  <a:lnTo>
                    <a:pt x="88" y="571029"/>
                  </a:lnTo>
                  <a:cubicBezTo>
                    <a:pt x="88" y="571029"/>
                    <a:pt x="-5565" y="378801"/>
                    <a:pt x="73587" y="378801"/>
                  </a:cubicBezTo>
                  <a:cubicBezTo>
                    <a:pt x="152740" y="378801"/>
                    <a:pt x="135778" y="452300"/>
                    <a:pt x="209277" y="452300"/>
                  </a:cubicBezTo>
                  <a:cubicBezTo>
                    <a:pt x="282776" y="452300"/>
                    <a:pt x="305391" y="356186"/>
                    <a:pt x="294083" y="254419"/>
                  </a:cubicBezTo>
                  <a:cubicBezTo>
                    <a:pt x="282776" y="152651"/>
                    <a:pt x="220585" y="0"/>
                    <a:pt x="220585" y="0"/>
                  </a:cubicBezTo>
                  <a:lnTo>
                    <a:pt x="1362642" y="170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ihandform: Form 57">
              <a:extLst>
                <a:ext uri="{FF2B5EF4-FFF2-40B4-BE49-F238E27FC236}">
                  <a16:creationId xmlns:a16="http://schemas.microsoft.com/office/drawing/2014/main" id="{BA29BF16-7FD3-7B6D-AD32-70CC299633BD}"/>
                </a:ext>
              </a:extLst>
            </p:cNvPr>
            <p:cNvSpPr>
              <a:spLocks/>
            </p:cNvSpPr>
            <p:nvPr/>
          </p:nvSpPr>
          <p:spPr>
            <a:xfrm>
              <a:off x="6741515" y="2799236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1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10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5"/>
                    <a:pt x="599216" y="1071312"/>
                  </a:cubicBezTo>
                  <a:cubicBezTo>
                    <a:pt x="599216" y="992160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60"/>
                    <a:pt x="983841" y="1071312"/>
                  </a:cubicBezTo>
                  <a:cubicBezTo>
                    <a:pt x="983841" y="1150465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10"/>
                    <a:pt x="1362642" y="1218310"/>
                  </a:cubicBezTo>
                  <a:cubicBezTo>
                    <a:pt x="1362642" y="1218310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ihandform: Form 58">
              <a:extLst>
                <a:ext uri="{FF2B5EF4-FFF2-40B4-BE49-F238E27FC236}">
                  <a16:creationId xmlns:a16="http://schemas.microsoft.com/office/drawing/2014/main" id="{C77BED7F-2A3F-F72A-F565-BFF5AD825900}"/>
                </a:ext>
              </a:extLst>
            </p:cNvPr>
            <p:cNvSpPr>
              <a:spLocks/>
            </p:cNvSpPr>
            <p:nvPr/>
          </p:nvSpPr>
          <p:spPr>
            <a:xfrm>
              <a:off x="6033975" y="2696888"/>
              <a:ext cx="917992" cy="1122689"/>
            </a:xfrm>
            <a:custGeom>
              <a:avLst/>
              <a:gdLst>
                <a:gd name="connsiteX0" fmla="*/ 1291808 w 1294561"/>
                <a:gd name="connsiteY0" fmla="*/ 1108393 h 1583227"/>
                <a:gd name="connsiteX1" fmla="*/ 1207002 w 1294561"/>
                <a:gd name="connsiteY1" fmla="*/ 910512 h 1583227"/>
                <a:gd name="connsiteX2" fmla="*/ 1071312 w 1294561"/>
                <a:gd name="connsiteY2" fmla="*/ 984011 h 1583227"/>
                <a:gd name="connsiteX3" fmla="*/ 997813 w 1294561"/>
                <a:gd name="connsiteY3" fmla="*/ 791783 h 1583227"/>
                <a:gd name="connsiteX4" fmla="*/ 997813 w 1294561"/>
                <a:gd name="connsiteY4" fmla="*/ 791614 h 1583227"/>
                <a:gd name="connsiteX5" fmla="*/ 1071312 w 1294561"/>
                <a:gd name="connsiteY5" fmla="*/ 599386 h 1583227"/>
                <a:gd name="connsiteX6" fmla="*/ 1207002 w 1294561"/>
                <a:gd name="connsiteY6" fmla="*/ 672885 h 1583227"/>
                <a:gd name="connsiteX7" fmla="*/ 1291808 w 1294561"/>
                <a:gd name="connsiteY7" fmla="*/ 475003 h 1583227"/>
                <a:gd name="connsiteX8" fmla="*/ 1218309 w 1294561"/>
                <a:gd name="connsiteY8" fmla="*/ 220585 h 1583227"/>
                <a:gd name="connsiteX9" fmla="*/ 963891 w 1294561"/>
                <a:gd name="connsiteY9" fmla="*/ 294083 h 1583227"/>
                <a:gd name="connsiteX10" fmla="*/ 766009 w 1294561"/>
                <a:gd name="connsiteY10" fmla="*/ 209277 h 1583227"/>
                <a:gd name="connsiteX11" fmla="*/ 839508 w 1294561"/>
                <a:gd name="connsiteY11" fmla="*/ 73587 h 1583227"/>
                <a:gd name="connsiteX12" fmla="*/ 647281 w 1294561"/>
                <a:gd name="connsiteY12" fmla="*/ 88 h 1583227"/>
                <a:gd name="connsiteX13" fmla="*/ 647111 w 1294561"/>
                <a:gd name="connsiteY13" fmla="*/ 88 h 1583227"/>
                <a:gd name="connsiteX14" fmla="*/ 454883 w 1294561"/>
                <a:gd name="connsiteY14" fmla="*/ 73587 h 1583227"/>
                <a:gd name="connsiteX15" fmla="*/ 528382 w 1294561"/>
                <a:gd name="connsiteY15" fmla="*/ 209277 h 1583227"/>
                <a:gd name="connsiteX16" fmla="*/ 330501 w 1294561"/>
                <a:gd name="connsiteY16" fmla="*/ 294083 h 1583227"/>
                <a:gd name="connsiteX17" fmla="*/ 76082 w 1294561"/>
                <a:gd name="connsiteY17" fmla="*/ 220585 h 1583227"/>
                <a:gd name="connsiteX18" fmla="*/ 2753 w 1294561"/>
                <a:gd name="connsiteY18" fmla="*/ 474834 h 1583227"/>
                <a:gd name="connsiteX19" fmla="*/ 87559 w 1294561"/>
                <a:gd name="connsiteY19" fmla="*/ 672715 h 1583227"/>
                <a:gd name="connsiteX20" fmla="*/ 223249 w 1294561"/>
                <a:gd name="connsiteY20" fmla="*/ 599216 h 1583227"/>
                <a:gd name="connsiteX21" fmla="*/ 296748 w 1294561"/>
                <a:gd name="connsiteY21" fmla="*/ 791444 h 1583227"/>
                <a:gd name="connsiteX22" fmla="*/ 296748 w 1294561"/>
                <a:gd name="connsiteY22" fmla="*/ 791614 h 1583227"/>
                <a:gd name="connsiteX23" fmla="*/ 223249 w 1294561"/>
                <a:gd name="connsiteY23" fmla="*/ 983841 h 1583227"/>
                <a:gd name="connsiteX24" fmla="*/ 87559 w 1294561"/>
                <a:gd name="connsiteY24" fmla="*/ 910342 h 1583227"/>
                <a:gd name="connsiteX25" fmla="*/ 2753 w 1294561"/>
                <a:gd name="connsiteY25" fmla="*/ 1108224 h 1583227"/>
                <a:gd name="connsiteX26" fmla="*/ 76252 w 1294561"/>
                <a:gd name="connsiteY26" fmla="*/ 1362643 h 1583227"/>
                <a:gd name="connsiteX27" fmla="*/ 330670 w 1294561"/>
                <a:gd name="connsiteY27" fmla="*/ 1289144 h 1583227"/>
                <a:gd name="connsiteX28" fmla="*/ 528552 w 1294561"/>
                <a:gd name="connsiteY28" fmla="*/ 1373950 h 1583227"/>
                <a:gd name="connsiteX29" fmla="*/ 455053 w 1294561"/>
                <a:gd name="connsiteY29" fmla="*/ 1509640 h 1583227"/>
                <a:gd name="connsiteX30" fmla="*/ 647281 w 1294561"/>
                <a:gd name="connsiteY30" fmla="*/ 1583139 h 1583227"/>
                <a:gd name="connsiteX31" fmla="*/ 647450 w 1294561"/>
                <a:gd name="connsiteY31" fmla="*/ 1583139 h 1583227"/>
                <a:gd name="connsiteX32" fmla="*/ 839678 w 1294561"/>
                <a:gd name="connsiteY32" fmla="*/ 1509640 h 1583227"/>
                <a:gd name="connsiteX33" fmla="*/ 766179 w 1294561"/>
                <a:gd name="connsiteY33" fmla="*/ 1373950 h 1583227"/>
                <a:gd name="connsiteX34" fmla="*/ 964060 w 1294561"/>
                <a:gd name="connsiteY34" fmla="*/ 1289144 h 1583227"/>
                <a:gd name="connsiteX35" fmla="*/ 1218479 w 1294561"/>
                <a:gd name="connsiteY35" fmla="*/ 1362643 h 1583227"/>
                <a:gd name="connsiteX36" fmla="*/ 1291808 w 1294561"/>
                <a:gd name="connsiteY36" fmla="*/ 1108393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7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cubicBezTo>
                    <a:pt x="1218479" y="1362643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9">
              <a:extLst>
                <a:ext uri="{FF2B5EF4-FFF2-40B4-BE49-F238E27FC236}">
                  <a16:creationId xmlns:a16="http://schemas.microsoft.com/office/drawing/2014/main" id="{2ACEE495-C78A-2CC0-06BA-1215B0F0C598}"/>
                </a:ext>
              </a:extLst>
            </p:cNvPr>
            <p:cNvSpPr>
              <a:spLocks/>
            </p:cNvSpPr>
            <p:nvPr/>
          </p:nvSpPr>
          <p:spPr>
            <a:xfrm>
              <a:off x="5931747" y="3609086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60">
              <a:extLst>
                <a:ext uri="{FF2B5EF4-FFF2-40B4-BE49-F238E27FC236}">
                  <a16:creationId xmlns:a16="http://schemas.microsoft.com/office/drawing/2014/main" id="{7024A421-D093-9C24-9877-BAE99CD1DF00}"/>
                </a:ext>
              </a:extLst>
            </p:cNvPr>
            <p:cNvSpPr>
              <a:spLocks/>
            </p:cNvSpPr>
            <p:nvPr/>
          </p:nvSpPr>
          <p:spPr>
            <a:xfrm>
              <a:off x="6843944" y="3506737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0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5"/>
                    <a:pt x="14060" y="910512"/>
                    <a:pt x="87559" y="910512"/>
                  </a:cubicBezTo>
                  <a:cubicBezTo>
                    <a:pt x="161058" y="910512"/>
                    <a:pt x="144097" y="984010"/>
                    <a:pt x="223249" y="984010"/>
                  </a:cubicBezTo>
                  <a:cubicBezTo>
                    <a:pt x="302402" y="984010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1">
              <a:extLst>
                <a:ext uri="{FF2B5EF4-FFF2-40B4-BE49-F238E27FC236}">
                  <a16:creationId xmlns:a16="http://schemas.microsoft.com/office/drawing/2014/main" id="{DA78DA3F-99BE-94C0-4D12-E25743F0E373}"/>
                </a:ext>
              </a:extLst>
            </p:cNvPr>
            <p:cNvSpPr>
              <a:spLocks/>
            </p:cNvSpPr>
            <p:nvPr/>
          </p:nvSpPr>
          <p:spPr>
            <a:xfrm>
              <a:off x="6741515" y="4418935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1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09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4"/>
                    <a:pt x="599216" y="1071312"/>
                  </a:cubicBezTo>
                  <a:cubicBezTo>
                    <a:pt x="599216" y="992159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59"/>
                    <a:pt x="983841" y="1071312"/>
                  </a:cubicBezTo>
                  <a:cubicBezTo>
                    <a:pt x="983841" y="1150464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09"/>
                    <a:pt x="1362642" y="1218309"/>
                  </a:cubicBez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62">
              <a:extLst>
                <a:ext uri="{FF2B5EF4-FFF2-40B4-BE49-F238E27FC236}">
                  <a16:creationId xmlns:a16="http://schemas.microsoft.com/office/drawing/2014/main" id="{74BE4385-7B66-B95D-EED2-E4A8BE950B0C}"/>
                </a:ext>
              </a:extLst>
            </p:cNvPr>
            <p:cNvSpPr>
              <a:spLocks/>
            </p:cNvSpPr>
            <p:nvPr/>
          </p:nvSpPr>
          <p:spPr>
            <a:xfrm>
              <a:off x="6033975" y="4316586"/>
              <a:ext cx="917992" cy="1122688"/>
            </a:xfrm>
            <a:custGeom>
              <a:avLst/>
              <a:gdLst>
                <a:gd name="connsiteX0" fmla="*/ 1291808 w 1294561"/>
                <a:gd name="connsiteY0" fmla="*/ 1108393 h 1583226"/>
                <a:gd name="connsiteX1" fmla="*/ 1207002 w 1294561"/>
                <a:gd name="connsiteY1" fmla="*/ 910512 h 1583226"/>
                <a:gd name="connsiteX2" fmla="*/ 1071312 w 1294561"/>
                <a:gd name="connsiteY2" fmla="*/ 984010 h 1583226"/>
                <a:gd name="connsiteX3" fmla="*/ 997813 w 1294561"/>
                <a:gd name="connsiteY3" fmla="*/ 791783 h 1583226"/>
                <a:gd name="connsiteX4" fmla="*/ 997813 w 1294561"/>
                <a:gd name="connsiteY4" fmla="*/ 791614 h 1583226"/>
                <a:gd name="connsiteX5" fmla="*/ 1071312 w 1294561"/>
                <a:gd name="connsiteY5" fmla="*/ 599386 h 1583226"/>
                <a:gd name="connsiteX6" fmla="*/ 1207002 w 1294561"/>
                <a:gd name="connsiteY6" fmla="*/ 672885 h 1583226"/>
                <a:gd name="connsiteX7" fmla="*/ 1291808 w 1294561"/>
                <a:gd name="connsiteY7" fmla="*/ 475003 h 1583226"/>
                <a:gd name="connsiteX8" fmla="*/ 1218309 w 1294561"/>
                <a:gd name="connsiteY8" fmla="*/ 220585 h 1583226"/>
                <a:gd name="connsiteX9" fmla="*/ 963891 w 1294561"/>
                <a:gd name="connsiteY9" fmla="*/ 294083 h 1583226"/>
                <a:gd name="connsiteX10" fmla="*/ 766009 w 1294561"/>
                <a:gd name="connsiteY10" fmla="*/ 209277 h 1583226"/>
                <a:gd name="connsiteX11" fmla="*/ 839508 w 1294561"/>
                <a:gd name="connsiteY11" fmla="*/ 73587 h 1583226"/>
                <a:gd name="connsiteX12" fmla="*/ 647281 w 1294561"/>
                <a:gd name="connsiteY12" fmla="*/ 88 h 1583226"/>
                <a:gd name="connsiteX13" fmla="*/ 647111 w 1294561"/>
                <a:gd name="connsiteY13" fmla="*/ 88 h 1583226"/>
                <a:gd name="connsiteX14" fmla="*/ 454883 w 1294561"/>
                <a:gd name="connsiteY14" fmla="*/ 73587 h 1583226"/>
                <a:gd name="connsiteX15" fmla="*/ 528382 w 1294561"/>
                <a:gd name="connsiteY15" fmla="*/ 209277 h 1583226"/>
                <a:gd name="connsiteX16" fmla="*/ 330501 w 1294561"/>
                <a:gd name="connsiteY16" fmla="*/ 294083 h 1583226"/>
                <a:gd name="connsiteX17" fmla="*/ 76082 w 1294561"/>
                <a:gd name="connsiteY17" fmla="*/ 220585 h 1583226"/>
                <a:gd name="connsiteX18" fmla="*/ 2753 w 1294561"/>
                <a:gd name="connsiteY18" fmla="*/ 474834 h 1583226"/>
                <a:gd name="connsiteX19" fmla="*/ 87559 w 1294561"/>
                <a:gd name="connsiteY19" fmla="*/ 672715 h 1583226"/>
                <a:gd name="connsiteX20" fmla="*/ 223249 w 1294561"/>
                <a:gd name="connsiteY20" fmla="*/ 599216 h 1583226"/>
                <a:gd name="connsiteX21" fmla="*/ 296748 w 1294561"/>
                <a:gd name="connsiteY21" fmla="*/ 791444 h 1583226"/>
                <a:gd name="connsiteX22" fmla="*/ 296748 w 1294561"/>
                <a:gd name="connsiteY22" fmla="*/ 791614 h 1583226"/>
                <a:gd name="connsiteX23" fmla="*/ 223249 w 1294561"/>
                <a:gd name="connsiteY23" fmla="*/ 983841 h 1583226"/>
                <a:gd name="connsiteX24" fmla="*/ 87559 w 1294561"/>
                <a:gd name="connsiteY24" fmla="*/ 910342 h 1583226"/>
                <a:gd name="connsiteX25" fmla="*/ 2753 w 1294561"/>
                <a:gd name="connsiteY25" fmla="*/ 1108224 h 1583226"/>
                <a:gd name="connsiteX26" fmla="*/ 76252 w 1294561"/>
                <a:gd name="connsiteY26" fmla="*/ 1362642 h 1583226"/>
                <a:gd name="connsiteX27" fmla="*/ 330670 w 1294561"/>
                <a:gd name="connsiteY27" fmla="*/ 1289144 h 1583226"/>
                <a:gd name="connsiteX28" fmla="*/ 528552 w 1294561"/>
                <a:gd name="connsiteY28" fmla="*/ 1373950 h 1583226"/>
                <a:gd name="connsiteX29" fmla="*/ 455053 w 1294561"/>
                <a:gd name="connsiteY29" fmla="*/ 1509640 h 1583226"/>
                <a:gd name="connsiteX30" fmla="*/ 647281 w 1294561"/>
                <a:gd name="connsiteY30" fmla="*/ 1583139 h 1583226"/>
                <a:gd name="connsiteX31" fmla="*/ 647450 w 1294561"/>
                <a:gd name="connsiteY31" fmla="*/ 1583139 h 1583226"/>
                <a:gd name="connsiteX32" fmla="*/ 839678 w 1294561"/>
                <a:gd name="connsiteY32" fmla="*/ 1509640 h 1583226"/>
                <a:gd name="connsiteX33" fmla="*/ 766179 w 1294561"/>
                <a:gd name="connsiteY33" fmla="*/ 1373950 h 1583226"/>
                <a:gd name="connsiteX34" fmla="*/ 964060 w 1294561"/>
                <a:gd name="connsiteY34" fmla="*/ 1289144 h 1583226"/>
                <a:gd name="connsiteX35" fmla="*/ 1218479 w 1294561"/>
                <a:gd name="connsiteY35" fmla="*/ 1362642 h 1583226"/>
                <a:gd name="connsiteX36" fmla="*/ 1291808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1291808" y="1108393"/>
                  </a:moveTo>
                  <a:cubicBezTo>
                    <a:pt x="1303116" y="1006625"/>
                    <a:pt x="1280501" y="910512"/>
                    <a:pt x="1207002" y="910512"/>
                  </a:cubicBezTo>
                  <a:cubicBezTo>
                    <a:pt x="1133503" y="910512"/>
                    <a:pt x="1150464" y="984010"/>
                    <a:pt x="1071312" y="984010"/>
                  </a:cubicBezTo>
                  <a:cubicBezTo>
                    <a:pt x="992159" y="984010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cubicBezTo>
                    <a:pt x="76252" y="1362642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7"/>
                    <a:pt x="455053" y="1509640"/>
                  </a:cubicBezTo>
                  <a:cubicBezTo>
                    <a:pt x="455053" y="1588792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2"/>
                    <a:pt x="839678" y="1509640"/>
                  </a:cubicBezTo>
                  <a:cubicBezTo>
                    <a:pt x="839678" y="1430487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2"/>
                    <a:pt x="1218479" y="1362642"/>
                  </a:cubicBez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63">
              <a:extLst>
                <a:ext uri="{FF2B5EF4-FFF2-40B4-BE49-F238E27FC236}">
                  <a16:creationId xmlns:a16="http://schemas.microsoft.com/office/drawing/2014/main" id="{38640D12-4834-5E75-C35D-AD06D8C92213}"/>
                </a:ext>
              </a:extLst>
            </p:cNvPr>
            <p:cNvSpPr>
              <a:spLocks/>
            </p:cNvSpPr>
            <p:nvPr/>
          </p:nvSpPr>
          <p:spPr>
            <a:xfrm>
              <a:off x="6844104" y="5126436"/>
              <a:ext cx="917992" cy="966269"/>
            </a:xfrm>
            <a:custGeom>
              <a:avLst/>
              <a:gdLst>
                <a:gd name="connsiteX0" fmla="*/ 1291808 w 1294561"/>
                <a:gd name="connsiteY0" fmla="*/ 1108393 h 1362642"/>
                <a:gd name="connsiteX1" fmla="*/ 1207002 w 1294561"/>
                <a:gd name="connsiteY1" fmla="*/ 910512 h 1362642"/>
                <a:gd name="connsiteX2" fmla="*/ 1071312 w 1294561"/>
                <a:gd name="connsiteY2" fmla="*/ 984011 h 1362642"/>
                <a:gd name="connsiteX3" fmla="*/ 997813 w 1294561"/>
                <a:gd name="connsiteY3" fmla="*/ 791783 h 1362642"/>
                <a:gd name="connsiteX4" fmla="*/ 997813 w 1294561"/>
                <a:gd name="connsiteY4" fmla="*/ 791614 h 1362642"/>
                <a:gd name="connsiteX5" fmla="*/ 1071312 w 1294561"/>
                <a:gd name="connsiteY5" fmla="*/ 599386 h 1362642"/>
                <a:gd name="connsiteX6" fmla="*/ 1207002 w 1294561"/>
                <a:gd name="connsiteY6" fmla="*/ 672885 h 1362642"/>
                <a:gd name="connsiteX7" fmla="*/ 1291808 w 1294561"/>
                <a:gd name="connsiteY7" fmla="*/ 475003 h 1362642"/>
                <a:gd name="connsiteX8" fmla="*/ 1218309 w 1294561"/>
                <a:gd name="connsiteY8" fmla="*/ 220585 h 1362642"/>
                <a:gd name="connsiteX9" fmla="*/ 963891 w 1294561"/>
                <a:gd name="connsiteY9" fmla="*/ 294083 h 1362642"/>
                <a:gd name="connsiteX10" fmla="*/ 766009 w 1294561"/>
                <a:gd name="connsiteY10" fmla="*/ 209277 h 1362642"/>
                <a:gd name="connsiteX11" fmla="*/ 839508 w 1294561"/>
                <a:gd name="connsiteY11" fmla="*/ 73587 h 1362642"/>
                <a:gd name="connsiteX12" fmla="*/ 647281 w 1294561"/>
                <a:gd name="connsiteY12" fmla="*/ 88 h 1362642"/>
                <a:gd name="connsiteX13" fmla="*/ 647111 w 1294561"/>
                <a:gd name="connsiteY13" fmla="*/ 88 h 1362642"/>
                <a:gd name="connsiteX14" fmla="*/ 454884 w 1294561"/>
                <a:gd name="connsiteY14" fmla="*/ 73587 h 1362642"/>
                <a:gd name="connsiteX15" fmla="*/ 528383 w 1294561"/>
                <a:gd name="connsiteY15" fmla="*/ 209277 h 1362642"/>
                <a:gd name="connsiteX16" fmla="*/ 330501 w 1294561"/>
                <a:gd name="connsiteY16" fmla="*/ 294083 h 1362642"/>
                <a:gd name="connsiteX17" fmla="*/ 76083 w 1294561"/>
                <a:gd name="connsiteY17" fmla="*/ 220585 h 1362642"/>
                <a:gd name="connsiteX18" fmla="*/ 2753 w 1294561"/>
                <a:gd name="connsiteY18" fmla="*/ 474834 h 1362642"/>
                <a:gd name="connsiteX19" fmla="*/ 87559 w 1294561"/>
                <a:gd name="connsiteY19" fmla="*/ 672715 h 1362642"/>
                <a:gd name="connsiteX20" fmla="*/ 223249 w 1294561"/>
                <a:gd name="connsiteY20" fmla="*/ 599216 h 1362642"/>
                <a:gd name="connsiteX21" fmla="*/ 296748 w 1294561"/>
                <a:gd name="connsiteY21" fmla="*/ 791444 h 1362642"/>
                <a:gd name="connsiteX22" fmla="*/ 296748 w 1294561"/>
                <a:gd name="connsiteY22" fmla="*/ 791614 h 1362642"/>
                <a:gd name="connsiteX23" fmla="*/ 223249 w 1294561"/>
                <a:gd name="connsiteY23" fmla="*/ 983841 h 1362642"/>
                <a:gd name="connsiteX24" fmla="*/ 87559 w 1294561"/>
                <a:gd name="connsiteY24" fmla="*/ 910342 h 1362642"/>
                <a:gd name="connsiteX25" fmla="*/ 2753 w 1294561"/>
                <a:gd name="connsiteY25" fmla="*/ 1108224 h 1362642"/>
                <a:gd name="connsiteX26" fmla="*/ 76252 w 1294561"/>
                <a:gd name="connsiteY26" fmla="*/ 1362642 h 1362642"/>
                <a:gd name="connsiteX27" fmla="*/ 1218479 w 1294561"/>
                <a:gd name="connsiteY27" fmla="*/ 1362642 h 1362642"/>
                <a:gd name="connsiteX28" fmla="*/ 1291808 w 1294561"/>
                <a:gd name="connsiteY28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4" y="-5565"/>
                    <a:pt x="454884" y="73587"/>
                  </a:cubicBezTo>
                  <a:cubicBezTo>
                    <a:pt x="454884" y="152740"/>
                    <a:pt x="528383" y="135778"/>
                    <a:pt x="528383" y="209277"/>
                  </a:cubicBezTo>
                  <a:cubicBezTo>
                    <a:pt x="528383" y="282776"/>
                    <a:pt x="432269" y="305391"/>
                    <a:pt x="330501" y="294083"/>
                  </a:cubicBezTo>
                  <a:cubicBezTo>
                    <a:pt x="228734" y="282776"/>
                    <a:pt x="76083" y="220585"/>
                    <a:pt x="76083" y="220585"/>
                  </a:cubicBezTo>
                  <a:cubicBezTo>
                    <a:pt x="76083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lnTo>
                    <a:pt x="1218479" y="1362642"/>
                  </a:ln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4">
              <a:extLst>
                <a:ext uri="{FF2B5EF4-FFF2-40B4-BE49-F238E27FC236}">
                  <a16:creationId xmlns:a16="http://schemas.microsoft.com/office/drawing/2014/main" id="{6D411882-BFC0-92F3-D485-C98A8A6723D0}"/>
                </a:ext>
              </a:extLst>
            </p:cNvPr>
            <p:cNvSpPr>
              <a:spLocks/>
            </p:cNvSpPr>
            <p:nvPr/>
          </p:nvSpPr>
          <p:spPr>
            <a:xfrm>
              <a:off x="5931866" y="5228784"/>
              <a:ext cx="1122688" cy="864041"/>
            </a:xfrm>
            <a:custGeom>
              <a:avLst/>
              <a:gdLst>
                <a:gd name="connsiteX0" fmla="*/ 1108393 w 1583226"/>
                <a:gd name="connsiteY0" fmla="*/ 2753 h 1218479"/>
                <a:gd name="connsiteX1" fmla="*/ 910511 w 1583226"/>
                <a:gd name="connsiteY1" fmla="*/ 87559 h 1218479"/>
                <a:gd name="connsiteX2" fmla="*/ 984010 w 1583226"/>
                <a:gd name="connsiteY2" fmla="*/ 223249 h 1218479"/>
                <a:gd name="connsiteX3" fmla="*/ 791783 w 1583226"/>
                <a:gd name="connsiteY3" fmla="*/ 296748 h 1218479"/>
                <a:gd name="connsiteX4" fmla="*/ 791614 w 1583226"/>
                <a:gd name="connsiteY4" fmla="*/ 296748 h 1218479"/>
                <a:gd name="connsiteX5" fmla="*/ 599386 w 1583226"/>
                <a:gd name="connsiteY5" fmla="*/ 223249 h 1218479"/>
                <a:gd name="connsiteX6" fmla="*/ 672885 w 1583226"/>
                <a:gd name="connsiteY6" fmla="*/ 87559 h 1218479"/>
                <a:gd name="connsiteX7" fmla="*/ 475003 w 1583226"/>
                <a:gd name="connsiteY7" fmla="*/ 2753 h 1218479"/>
                <a:gd name="connsiteX8" fmla="*/ 220585 w 1583226"/>
                <a:gd name="connsiteY8" fmla="*/ 76252 h 1218479"/>
                <a:gd name="connsiteX9" fmla="*/ 294083 w 1583226"/>
                <a:gd name="connsiteY9" fmla="*/ 330670 h 1218479"/>
                <a:gd name="connsiteX10" fmla="*/ 209277 w 1583226"/>
                <a:gd name="connsiteY10" fmla="*/ 528552 h 1218479"/>
                <a:gd name="connsiteX11" fmla="*/ 73587 w 1583226"/>
                <a:gd name="connsiteY11" fmla="*/ 455053 h 1218479"/>
                <a:gd name="connsiteX12" fmla="*/ 88 w 1583226"/>
                <a:gd name="connsiteY12" fmla="*/ 647281 h 1218479"/>
                <a:gd name="connsiteX13" fmla="*/ 88 w 1583226"/>
                <a:gd name="connsiteY13" fmla="*/ 647450 h 1218479"/>
                <a:gd name="connsiteX14" fmla="*/ 73587 w 1583226"/>
                <a:gd name="connsiteY14" fmla="*/ 839678 h 1218479"/>
                <a:gd name="connsiteX15" fmla="*/ 209277 w 1583226"/>
                <a:gd name="connsiteY15" fmla="*/ 766179 h 1218479"/>
                <a:gd name="connsiteX16" fmla="*/ 294083 w 1583226"/>
                <a:gd name="connsiteY16" fmla="*/ 964060 h 1218479"/>
                <a:gd name="connsiteX17" fmla="*/ 220585 w 1583226"/>
                <a:gd name="connsiteY17" fmla="*/ 1218479 h 1218479"/>
                <a:gd name="connsiteX18" fmla="*/ 1362642 w 1583226"/>
                <a:gd name="connsiteY18" fmla="*/ 1218309 h 1218479"/>
                <a:gd name="connsiteX19" fmla="*/ 1289144 w 1583226"/>
                <a:gd name="connsiteY19" fmla="*/ 963891 h 1218479"/>
                <a:gd name="connsiteX20" fmla="*/ 1373950 w 1583226"/>
                <a:gd name="connsiteY20" fmla="*/ 766009 h 1218479"/>
                <a:gd name="connsiteX21" fmla="*/ 1509640 w 1583226"/>
                <a:gd name="connsiteY21" fmla="*/ 839508 h 1218479"/>
                <a:gd name="connsiteX22" fmla="*/ 1583139 w 1583226"/>
                <a:gd name="connsiteY22" fmla="*/ 647281 h 1218479"/>
                <a:gd name="connsiteX23" fmla="*/ 1583139 w 1583226"/>
                <a:gd name="connsiteY23" fmla="*/ 647111 h 1218479"/>
                <a:gd name="connsiteX24" fmla="*/ 1509640 w 1583226"/>
                <a:gd name="connsiteY24" fmla="*/ 454883 h 1218479"/>
                <a:gd name="connsiteX25" fmla="*/ 1373950 w 1583226"/>
                <a:gd name="connsiteY25" fmla="*/ 528382 h 1218479"/>
                <a:gd name="connsiteX26" fmla="*/ 1289144 w 1583226"/>
                <a:gd name="connsiteY26" fmla="*/ 330501 h 1218479"/>
                <a:gd name="connsiteX27" fmla="*/ 1362642 w 1583226"/>
                <a:gd name="connsiteY27" fmla="*/ 76082 h 1218479"/>
                <a:gd name="connsiteX28" fmla="*/ 1108393 w 1583226"/>
                <a:gd name="connsiteY28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9">
                  <a:moveTo>
                    <a:pt x="1108393" y="2753"/>
                  </a:moveTo>
                  <a:cubicBezTo>
                    <a:pt x="1006625" y="-8555"/>
                    <a:pt x="910511" y="14060"/>
                    <a:pt x="910511" y="87559"/>
                  </a:cubicBezTo>
                  <a:cubicBezTo>
                    <a:pt x="910511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2" y="1218309"/>
                  </a:ln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0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5">
              <a:extLst>
                <a:ext uri="{FF2B5EF4-FFF2-40B4-BE49-F238E27FC236}">
                  <a16:creationId xmlns:a16="http://schemas.microsoft.com/office/drawing/2014/main" id="{EA72D4C3-6BCE-99C8-FC5C-C247AED69E55}"/>
                </a:ext>
              </a:extLst>
            </p:cNvPr>
            <p:cNvSpPr>
              <a:spLocks/>
            </p:cNvSpPr>
            <p:nvPr/>
          </p:nvSpPr>
          <p:spPr>
            <a:xfrm>
              <a:off x="419221" y="5126436"/>
              <a:ext cx="864040" cy="966269"/>
            </a:xfrm>
            <a:custGeom>
              <a:avLst/>
              <a:gdLst>
                <a:gd name="connsiteX0" fmla="*/ 1215726 w 1218478"/>
                <a:gd name="connsiteY0" fmla="*/ 1108393 h 1362642"/>
                <a:gd name="connsiteX1" fmla="*/ 1130920 w 1218478"/>
                <a:gd name="connsiteY1" fmla="*/ 910512 h 1362642"/>
                <a:gd name="connsiteX2" fmla="*/ 995230 w 1218478"/>
                <a:gd name="connsiteY2" fmla="*/ 984011 h 1362642"/>
                <a:gd name="connsiteX3" fmla="*/ 921731 w 1218478"/>
                <a:gd name="connsiteY3" fmla="*/ 791783 h 1362642"/>
                <a:gd name="connsiteX4" fmla="*/ 921731 w 1218478"/>
                <a:gd name="connsiteY4" fmla="*/ 791614 h 1362642"/>
                <a:gd name="connsiteX5" fmla="*/ 995230 w 1218478"/>
                <a:gd name="connsiteY5" fmla="*/ 599386 h 1362642"/>
                <a:gd name="connsiteX6" fmla="*/ 1130920 w 1218478"/>
                <a:gd name="connsiteY6" fmla="*/ 672885 h 1362642"/>
                <a:gd name="connsiteX7" fmla="*/ 1215726 w 1218478"/>
                <a:gd name="connsiteY7" fmla="*/ 475003 h 1362642"/>
                <a:gd name="connsiteX8" fmla="*/ 1142227 w 1218478"/>
                <a:gd name="connsiteY8" fmla="*/ 220585 h 1362642"/>
                <a:gd name="connsiteX9" fmla="*/ 887809 w 1218478"/>
                <a:gd name="connsiteY9" fmla="*/ 294083 h 1362642"/>
                <a:gd name="connsiteX10" fmla="*/ 689927 w 1218478"/>
                <a:gd name="connsiteY10" fmla="*/ 209277 h 1362642"/>
                <a:gd name="connsiteX11" fmla="*/ 763426 w 1218478"/>
                <a:gd name="connsiteY11" fmla="*/ 73587 h 1362642"/>
                <a:gd name="connsiteX12" fmla="*/ 571198 w 1218478"/>
                <a:gd name="connsiteY12" fmla="*/ 88 h 1362642"/>
                <a:gd name="connsiteX13" fmla="*/ 571029 w 1218478"/>
                <a:gd name="connsiteY13" fmla="*/ 88 h 1362642"/>
                <a:gd name="connsiteX14" fmla="*/ 378801 w 1218478"/>
                <a:gd name="connsiteY14" fmla="*/ 73587 h 1362642"/>
                <a:gd name="connsiteX15" fmla="*/ 452300 w 1218478"/>
                <a:gd name="connsiteY15" fmla="*/ 209277 h 1362642"/>
                <a:gd name="connsiteX16" fmla="*/ 254419 w 1218478"/>
                <a:gd name="connsiteY16" fmla="*/ 294083 h 1362642"/>
                <a:gd name="connsiteX17" fmla="*/ 0 w 1218478"/>
                <a:gd name="connsiteY17" fmla="*/ 220585 h 1362642"/>
                <a:gd name="connsiteX18" fmla="*/ 170 w 1218478"/>
                <a:gd name="connsiteY18" fmla="*/ 1362642 h 1362642"/>
                <a:gd name="connsiteX19" fmla="*/ 1142397 w 1218478"/>
                <a:gd name="connsiteY19" fmla="*/ 1362642 h 1362642"/>
                <a:gd name="connsiteX20" fmla="*/ 1215726 w 1218478"/>
                <a:gd name="connsiteY20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8478" h="1362642">
                  <a:moveTo>
                    <a:pt x="1215726" y="1108393"/>
                  </a:moveTo>
                  <a:cubicBezTo>
                    <a:pt x="1227034" y="1006626"/>
                    <a:pt x="1204419" y="910512"/>
                    <a:pt x="1130920" y="910512"/>
                  </a:cubicBezTo>
                  <a:cubicBezTo>
                    <a:pt x="1057421" y="910512"/>
                    <a:pt x="1074382" y="984011"/>
                    <a:pt x="995230" y="984011"/>
                  </a:cubicBezTo>
                  <a:cubicBezTo>
                    <a:pt x="916077" y="984011"/>
                    <a:pt x="921731" y="791783"/>
                    <a:pt x="921731" y="791783"/>
                  </a:cubicBezTo>
                  <a:lnTo>
                    <a:pt x="921731" y="791614"/>
                  </a:lnTo>
                  <a:cubicBezTo>
                    <a:pt x="921731" y="791614"/>
                    <a:pt x="916077" y="599386"/>
                    <a:pt x="995230" y="599386"/>
                  </a:cubicBezTo>
                  <a:cubicBezTo>
                    <a:pt x="1074382" y="599386"/>
                    <a:pt x="1057421" y="672885"/>
                    <a:pt x="1130920" y="672885"/>
                  </a:cubicBezTo>
                  <a:cubicBezTo>
                    <a:pt x="1204419" y="672885"/>
                    <a:pt x="1227034" y="576771"/>
                    <a:pt x="1215726" y="475003"/>
                  </a:cubicBezTo>
                  <a:cubicBezTo>
                    <a:pt x="1204419" y="373236"/>
                    <a:pt x="1142227" y="220585"/>
                    <a:pt x="1142227" y="220585"/>
                  </a:cubicBezTo>
                  <a:cubicBezTo>
                    <a:pt x="1142227" y="220585"/>
                    <a:pt x="989576" y="282776"/>
                    <a:pt x="887809" y="294083"/>
                  </a:cubicBezTo>
                  <a:cubicBezTo>
                    <a:pt x="786041" y="305391"/>
                    <a:pt x="689927" y="282776"/>
                    <a:pt x="689927" y="209277"/>
                  </a:cubicBezTo>
                  <a:cubicBezTo>
                    <a:pt x="689927" y="135778"/>
                    <a:pt x="763426" y="152740"/>
                    <a:pt x="763426" y="73587"/>
                  </a:cubicBezTo>
                  <a:cubicBezTo>
                    <a:pt x="763426" y="-5565"/>
                    <a:pt x="571198" y="88"/>
                    <a:pt x="571198" y="88"/>
                  </a:cubicBezTo>
                  <a:lnTo>
                    <a:pt x="571029" y="88"/>
                  </a:lnTo>
                  <a:cubicBezTo>
                    <a:pt x="571029" y="88"/>
                    <a:pt x="378801" y="-5565"/>
                    <a:pt x="378801" y="73587"/>
                  </a:cubicBezTo>
                  <a:cubicBezTo>
                    <a:pt x="378801" y="152740"/>
                    <a:pt x="452300" y="135778"/>
                    <a:pt x="452300" y="209277"/>
                  </a:cubicBezTo>
                  <a:cubicBezTo>
                    <a:pt x="452300" y="282776"/>
                    <a:pt x="356186" y="305391"/>
                    <a:pt x="254419" y="294083"/>
                  </a:cubicBezTo>
                  <a:cubicBezTo>
                    <a:pt x="152651" y="282776"/>
                    <a:pt x="0" y="220585"/>
                    <a:pt x="0" y="220585"/>
                  </a:cubicBezTo>
                  <a:lnTo>
                    <a:pt x="170" y="1362642"/>
                  </a:lnTo>
                  <a:lnTo>
                    <a:pt x="1142397" y="1362642"/>
                  </a:lnTo>
                  <a:cubicBezTo>
                    <a:pt x="1142397" y="1362642"/>
                    <a:pt x="1204419" y="1210161"/>
                    <a:pt x="1215726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6" name="Gruppieren 77">
            <a:extLst>
              <a:ext uri="{FF2B5EF4-FFF2-40B4-BE49-F238E27FC236}">
                <a16:creationId xmlns:a16="http://schemas.microsoft.com/office/drawing/2014/main" id="{B9162DAB-8DC2-91C9-1390-8249AB59823D}"/>
              </a:ext>
            </a:extLst>
          </p:cNvPr>
          <p:cNvGrpSpPr>
            <a:grpSpLocks/>
          </p:cNvGrpSpPr>
          <p:nvPr/>
        </p:nvGrpSpPr>
        <p:grpSpPr>
          <a:xfrm>
            <a:off x="8227865" y="1557337"/>
            <a:ext cx="2149179" cy="2149091"/>
            <a:chOff x="9186732" y="1786864"/>
            <a:chExt cx="1932618" cy="1932539"/>
          </a:xfrm>
        </p:grpSpPr>
        <p:sp>
          <p:nvSpPr>
            <p:cNvPr id="67" name="Freihandform: Form 67">
              <a:extLst>
                <a:ext uri="{FF2B5EF4-FFF2-40B4-BE49-F238E27FC236}">
                  <a16:creationId xmlns:a16="http://schemas.microsoft.com/office/drawing/2014/main" id="{39ADA3E2-31D2-54D5-E7C0-B1A5E0BFF2C7}"/>
                </a:ext>
              </a:extLst>
            </p:cNvPr>
            <p:cNvSpPr>
              <a:spLocks/>
            </p:cNvSpPr>
            <p:nvPr/>
          </p:nvSpPr>
          <p:spPr>
            <a:xfrm>
              <a:off x="9289161" y="1786864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1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6"/>
                    <a:pt x="14060" y="910512"/>
                    <a:pt x="87559" y="910512"/>
                  </a:cubicBezTo>
                  <a:cubicBezTo>
                    <a:pt x="161058" y="910512"/>
                    <a:pt x="144097" y="984011"/>
                    <a:pt x="223249" y="984011"/>
                  </a:cubicBezTo>
                  <a:cubicBezTo>
                    <a:pt x="302402" y="984011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8">
              <a:extLst>
                <a:ext uri="{FF2B5EF4-FFF2-40B4-BE49-F238E27FC236}">
                  <a16:creationId xmlns:a16="http://schemas.microsoft.com/office/drawing/2014/main" id="{FB83FD5E-DE87-9BAC-742F-C190CE401E6D}"/>
                </a:ext>
              </a:extLst>
            </p:cNvPr>
            <p:cNvSpPr>
              <a:spLocks/>
            </p:cNvSpPr>
            <p:nvPr/>
          </p:nvSpPr>
          <p:spPr>
            <a:xfrm>
              <a:off x="9186732" y="2699062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0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10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5"/>
                    <a:pt x="599216" y="1071312"/>
                  </a:cubicBezTo>
                  <a:cubicBezTo>
                    <a:pt x="599216" y="992160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60"/>
                    <a:pt x="983841" y="1071312"/>
                  </a:cubicBezTo>
                  <a:cubicBezTo>
                    <a:pt x="983841" y="1150465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10"/>
                    <a:pt x="1362642" y="1218310"/>
                  </a:cubicBezTo>
                  <a:cubicBezTo>
                    <a:pt x="1362642" y="1218310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9">
              <a:extLst>
                <a:ext uri="{FF2B5EF4-FFF2-40B4-BE49-F238E27FC236}">
                  <a16:creationId xmlns:a16="http://schemas.microsoft.com/office/drawing/2014/main" id="{EE3A86DE-AD56-C690-E6AA-B09F3E468282}"/>
                </a:ext>
              </a:extLst>
            </p:cNvPr>
            <p:cNvSpPr>
              <a:spLocks/>
            </p:cNvSpPr>
            <p:nvPr/>
          </p:nvSpPr>
          <p:spPr>
            <a:xfrm>
              <a:off x="9996662" y="1889213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70">
              <a:extLst>
                <a:ext uri="{FF2B5EF4-FFF2-40B4-BE49-F238E27FC236}">
                  <a16:creationId xmlns:a16="http://schemas.microsoft.com/office/drawing/2014/main" id="{18D583FB-4181-386B-A8DA-BE0942A43F56}"/>
                </a:ext>
              </a:extLst>
            </p:cNvPr>
            <p:cNvSpPr>
              <a:spLocks/>
            </p:cNvSpPr>
            <p:nvPr/>
          </p:nvSpPr>
          <p:spPr>
            <a:xfrm>
              <a:off x="10098890" y="2596714"/>
              <a:ext cx="917992" cy="1122689"/>
            </a:xfrm>
            <a:custGeom>
              <a:avLst/>
              <a:gdLst>
                <a:gd name="connsiteX0" fmla="*/ 1291808 w 1294561"/>
                <a:gd name="connsiteY0" fmla="*/ 1108393 h 1583227"/>
                <a:gd name="connsiteX1" fmla="*/ 1207002 w 1294561"/>
                <a:gd name="connsiteY1" fmla="*/ 910512 h 1583227"/>
                <a:gd name="connsiteX2" fmla="*/ 1071312 w 1294561"/>
                <a:gd name="connsiteY2" fmla="*/ 984011 h 1583227"/>
                <a:gd name="connsiteX3" fmla="*/ 997813 w 1294561"/>
                <a:gd name="connsiteY3" fmla="*/ 791783 h 1583227"/>
                <a:gd name="connsiteX4" fmla="*/ 997813 w 1294561"/>
                <a:gd name="connsiteY4" fmla="*/ 791614 h 1583227"/>
                <a:gd name="connsiteX5" fmla="*/ 1071312 w 1294561"/>
                <a:gd name="connsiteY5" fmla="*/ 599386 h 1583227"/>
                <a:gd name="connsiteX6" fmla="*/ 1207002 w 1294561"/>
                <a:gd name="connsiteY6" fmla="*/ 672885 h 1583227"/>
                <a:gd name="connsiteX7" fmla="*/ 1291808 w 1294561"/>
                <a:gd name="connsiteY7" fmla="*/ 475003 h 1583227"/>
                <a:gd name="connsiteX8" fmla="*/ 1218309 w 1294561"/>
                <a:gd name="connsiteY8" fmla="*/ 220585 h 1583227"/>
                <a:gd name="connsiteX9" fmla="*/ 963891 w 1294561"/>
                <a:gd name="connsiteY9" fmla="*/ 294083 h 1583227"/>
                <a:gd name="connsiteX10" fmla="*/ 766009 w 1294561"/>
                <a:gd name="connsiteY10" fmla="*/ 209277 h 1583227"/>
                <a:gd name="connsiteX11" fmla="*/ 839508 w 1294561"/>
                <a:gd name="connsiteY11" fmla="*/ 73587 h 1583227"/>
                <a:gd name="connsiteX12" fmla="*/ 647281 w 1294561"/>
                <a:gd name="connsiteY12" fmla="*/ 88 h 1583227"/>
                <a:gd name="connsiteX13" fmla="*/ 647111 w 1294561"/>
                <a:gd name="connsiteY13" fmla="*/ 88 h 1583227"/>
                <a:gd name="connsiteX14" fmla="*/ 454883 w 1294561"/>
                <a:gd name="connsiteY14" fmla="*/ 73587 h 1583227"/>
                <a:gd name="connsiteX15" fmla="*/ 528382 w 1294561"/>
                <a:gd name="connsiteY15" fmla="*/ 209277 h 1583227"/>
                <a:gd name="connsiteX16" fmla="*/ 330501 w 1294561"/>
                <a:gd name="connsiteY16" fmla="*/ 294083 h 1583227"/>
                <a:gd name="connsiteX17" fmla="*/ 76082 w 1294561"/>
                <a:gd name="connsiteY17" fmla="*/ 220585 h 1583227"/>
                <a:gd name="connsiteX18" fmla="*/ 2753 w 1294561"/>
                <a:gd name="connsiteY18" fmla="*/ 474834 h 1583227"/>
                <a:gd name="connsiteX19" fmla="*/ 87559 w 1294561"/>
                <a:gd name="connsiteY19" fmla="*/ 672715 h 1583227"/>
                <a:gd name="connsiteX20" fmla="*/ 223249 w 1294561"/>
                <a:gd name="connsiteY20" fmla="*/ 599216 h 1583227"/>
                <a:gd name="connsiteX21" fmla="*/ 296748 w 1294561"/>
                <a:gd name="connsiteY21" fmla="*/ 791444 h 1583227"/>
                <a:gd name="connsiteX22" fmla="*/ 296748 w 1294561"/>
                <a:gd name="connsiteY22" fmla="*/ 791614 h 1583227"/>
                <a:gd name="connsiteX23" fmla="*/ 223249 w 1294561"/>
                <a:gd name="connsiteY23" fmla="*/ 983841 h 1583227"/>
                <a:gd name="connsiteX24" fmla="*/ 87559 w 1294561"/>
                <a:gd name="connsiteY24" fmla="*/ 910342 h 1583227"/>
                <a:gd name="connsiteX25" fmla="*/ 2753 w 1294561"/>
                <a:gd name="connsiteY25" fmla="*/ 1108224 h 1583227"/>
                <a:gd name="connsiteX26" fmla="*/ 76252 w 1294561"/>
                <a:gd name="connsiteY26" fmla="*/ 1362643 h 1583227"/>
                <a:gd name="connsiteX27" fmla="*/ 330670 w 1294561"/>
                <a:gd name="connsiteY27" fmla="*/ 1289144 h 1583227"/>
                <a:gd name="connsiteX28" fmla="*/ 528552 w 1294561"/>
                <a:gd name="connsiteY28" fmla="*/ 1373950 h 1583227"/>
                <a:gd name="connsiteX29" fmla="*/ 455053 w 1294561"/>
                <a:gd name="connsiteY29" fmla="*/ 1509640 h 1583227"/>
                <a:gd name="connsiteX30" fmla="*/ 647281 w 1294561"/>
                <a:gd name="connsiteY30" fmla="*/ 1583139 h 1583227"/>
                <a:gd name="connsiteX31" fmla="*/ 647450 w 1294561"/>
                <a:gd name="connsiteY31" fmla="*/ 1583139 h 1583227"/>
                <a:gd name="connsiteX32" fmla="*/ 839678 w 1294561"/>
                <a:gd name="connsiteY32" fmla="*/ 1509640 h 1583227"/>
                <a:gd name="connsiteX33" fmla="*/ 766179 w 1294561"/>
                <a:gd name="connsiteY33" fmla="*/ 1373950 h 1583227"/>
                <a:gd name="connsiteX34" fmla="*/ 964060 w 1294561"/>
                <a:gd name="connsiteY34" fmla="*/ 1289144 h 1583227"/>
                <a:gd name="connsiteX35" fmla="*/ 1218479 w 1294561"/>
                <a:gd name="connsiteY35" fmla="*/ 1362643 h 1583227"/>
                <a:gd name="connsiteX36" fmla="*/ 1291808 w 1294561"/>
                <a:gd name="connsiteY36" fmla="*/ 1108393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7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cubicBezTo>
                    <a:pt x="1218479" y="1362643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1" name="Gruppieren 78">
            <a:extLst>
              <a:ext uri="{FF2B5EF4-FFF2-40B4-BE49-F238E27FC236}">
                <a16:creationId xmlns:a16="http://schemas.microsoft.com/office/drawing/2014/main" id="{7C59B19A-56E9-677B-80F9-03CDCD2BE0C8}"/>
              </a:ext>
            </a:extLst>
          </p:cNvPr>
          <p:cNvGrpSpPr>
            <a:grpSpLocks/>
          </p:cNvGrpSpPr>
          <p:nvPr/>
        </p:nvGrpSpPr>
        <p:grpSpPr>
          <a:xfrm>
            <a:off x="8462165" y="3908677"/>
            <a:ext cx="2112850" cy="2149223"/>
            <a:chOff x="9397423" y="3901273"/>
            <a:chExt cx="1899950" cy="1932658"/>
          </a:xfrm>
        </p:grpSpPr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21FED32D-D0AC-F180-FA6B-ADC840EB5FB6}"/>
                </a:ext>
              </a:extLst>
            </p:cNvPr>
            <p:cNvSpPr>
              <a:spLocks/>
            </p:cNvSpPr>
            <p:nvPr/>
          </p:nvSpPr>
          <p:spPr>
            <a:xfrm>
              <a:off x="9397423" y="4213990"/>
              <a:ext cx="966269" cy="864040"/>
            </a:xfrm>
            <a:custGeom>
              <a:avLst/>
              <a:gdLst>
                <a:gd name="connsiteX0" fmla="*/ 1142058 w 1362642"/>
                <a:gd name="connsiteY0" fmla="*/ 170 h 1218478"/>
                <a:gd name="connsiteX1" fmla="*/ 1068559 w 1362642"/>
                <a:gd name="connsiteY1" fmla="*/ 254588 h 1218478"/>
                <a:gd name="connsiteX2" fmla="*/ 1153365 w 1362642"/>
                <a:gd name="connsiteY2" fmla="*/ 452470 h 1218478"/>
                <a:gd name="connsiteX3" fmla="*/ 1289055 w 1362642"/>
                <a:gd name="connsiteY3" fmla="*/ 378971 h 1218478"/>
                <a:gd name="connsiteX4" fmla="*/ 1362554 w 1362642"/>
                <a:gd name="connsiteY4" fmla="*/ 571198 h 1218478"/>
                <a:gd name="connsiteX5" fmla="*/ 1362554 w 1362642"/>
                <a:gd name="connsiteY5" fmla="*/ 571368 h 1218478"/>
                <a:gd name="connsiteX6" fmla="*/ 1289055 w 1362642"/>
                <a:gd name="connsiteY6" fmla="*/ 763596 h 1218478"/>
                <a:gd name="connsiteX7" fmla="*/ 1153365 w 1362642"/>
                <a:gd name="connsiteY7" fmla="*/ 690097 h 1218478"/>
                <a:gd name="connsiteX8" fmla="*/ 1068559 w 1362642"/>
                <a:gd name="connsiteY8" fmla="*/ 887978 h 1218478"/>
                <a:gd name="connsiteX9" fmla="*/ 1142058 w 1362642"/>
                <a:gd name="connsiteY9" fmla="*/ 1142397 h 1218478"/>
                <a:gd name="connsiteX10" fmla="*/ 887809 w 1362642"/>
                <a:gd name="connsiteY10" fmla="*/ 1215726 h 1218478"/>
                <a:gd name="connsiteX11" fmla="*/ 689927 w 1362642"/>
                <a:gd name="connsiteY11" fmla="*/ 1130920 h 1218478"/>
                <a:gd name="connsiteX12" fmla="*/ 763426 w 1362642"/>
                <a:gd name="connsiteY12" fmla="*/ 995230 h 1218478"/>
                <a:gd name="connsiteX13" fmla="*/ 571198 w 1362642"/>
                <a:gd name="connsiteY13" fmla="*/ 921731 h 1218478"/>
                <a:gd name="connsiteX14" fmla="*/ 571029 w 1362642"/>
                <a:gd name="connsiteY14" fmla="*/ 921731 h 1218478"/>
                <a:gd name="connsiteX15" fmla="*/ 378801 w 1362642"/>
                <a:gd name="connsiteY15" fmla="*/ 995230 h 1218478"/>
                <a:gd name="connsiteX16" fmla="*/ 452300 w 1362642"/>
                <a:gd name="connsiteY16" fmla="*/ 1130920 h 1218478"/>
                <a:gd name="connsiteX17" fmla="*/ 254419 w 1362642"/>
                <a:gd name="connsiteY17" fmla="*/ 1215726 h 1218478"/>
                <a:gd name="connsiteX18" fmla="*/ 0 w 1362642"/>
                <a:gd name="connsiteY18" fmla="*/ 1142227 h 1218478"/>
                <a:gd name="connsiteX19" fmla="*/ 0 w 1362642"/>
                <a:gd name="connsiteY19" fmla="*/ 0 h 1218478"/>
                <a:gd name="connsiteX20" fmla="*/ 1142058 w 1362642"/>
                <a:gd name="connsiteY20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62642" h="1218478">
                  <a:moveTo>
                    <a:pt x="1142058" y="170"/>
                  </a:moveTo>
                  <a:cubicBezTo>
                    <a:pt x="1142058" y="170"/>
                    <a:pt x="1079867" y="152821"/>
                    <a:pt x="1068559" y="254588"/>
                  </a:cubicBezTo>
                  <a:cubicBezTo>
                    <a:pt x="1057252" y="356356"/>
                    <a:pt x="1079867" y="452470"/>
                    <a:pt x="1153365" y="452470"/>
                  </a:cubicBezTo>
                  <a:cubicBezTo>
                    <a:pt x="1226864" y="452470"/>
                    <a:pt x="1209903" y="378971"/>
                    <a:pt x="1289055" y="378971"/>
                  </a:cubicBezTo>
                  <a:cubicBezTo>
                    <a:pt x="1368208" y="378971"/>
                    <a:pt x="1362554" y="571198"/>
                    <a:pt x="1362554" y="571198"/>
                  </a:cubicBezTo>
                  <a:lnTo>
                    <a:pt x="1362554" y="571368"/>
                  </a:lnTo>
                  <a:cubicBezTo>
                    <a:pt x="1362554" y="571368"/>
                    <a:pt x="1368208" y="763596"/>
                    <a:pt x="1289055" y="763596"/>
                  </a:cubicBezTo>
                  <a:cubicBezTo>
                    <a:pt x="1209903" y="763596"/>
                    <a:pt x="1226864" y="690097"/>
                    <a:pt x="1153365" y="690097"/>
                  </a:cubicBezTo>
                  <a:cubicBezTo>
                    <a:pt x="1079867" y="690097"/>
                    <a:pt x="1057252" y="786211"/>
                    <a:pt x="1068559" y="887978"/>
                  </a:cubicBezTo>
                  <a:cubicBezTo>
                    <a:pt x="1079867" y="989746"/>
                    <a:pt x="1142058" y="1142397"/>
                    <a:pt x="1142058" y="1142397"/>
                  </a:cubicBezTo>
                  <a:cubicBezTo>
                    <a:pt x="1142058" y="1142397"/>
                    <a:pt x="989576" y="1204419"/>
                    <a:pt x="887809" y="1215726"/>
                  </a:cubicBezTo>
                  <a:cubicBezTo>
                    <a:pt x="786041" y="1227034"/>
                    <a:pt x="689927" y="1204419"/>
                    <a:pt x="689927" y="1130920"/>
                  </a:cubicBezTo>
                  <a:cubicBezTo>
                    <a:pt x="689927" y="1057421"/>
                    <a:pt x="763426" y="1074382"/>
                    <a:pt x="763426" y="995230"/>
                  </a:cubicBezTo>
                  <a:cubicBezTo>
                    <a:pt x="763426" y="916077"/>
                    <a:pt x="571198" y="921731"/>
                    <a:pt x="571198" y="921731"/>
                  </a:cubicBezTo>
                  <a:lnTo>
                    <a:pt x="571029" y="921731"/>
                  </a:lnTo>
                  <a:cubicBezTo>
                    <a:pt x="571029" y="921731"/>
                    <a:pt x="378801" y="916077"/>
                    <a:pt x="378801" y="995230"/>
                  </a:cubicBezTo>
                  <a:cubicBezTo>
                    <a:pt x="378801" y="1074382"/>
                    <a:pt x="452300" y="1057421"/>
                    <a:pt x="452300" y="1130920"/>
                  </a:cubicBezTo>
                  <a:cubicBezTo>
                    <a:pt x="452300" y="1204419"/>
                    <a:pt x="356186" y="1227034"/>
                    <a:pt x="254419" y="1215726"/>
                  </a:cubicBezTo>
                  <a:cubicBezTo>
                    <a:pt x="152651" y="1204419"/>
                    <a:pt x="0" y="1142227"/>
                    <a:pt x="0" y="1142227"/>
                  </a:cubicBezTo>
                  <a:lnTo>
                    <a:pt x="0" y="0"/>
                  </a:lnTo>
                  <a:cubicBezTo>
                    <a:pt x="0" y="0"/>
                    <a:pt x="1142058" y="170"/>
                    <a:pt x="1142058" y="170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A0DAD1B-62B2-3C26-0FE0-930C29E2B9FE}"/>
                </a:ext>
              </a:extLst>
            </p:cNvPr>
            <p:cNvSpPr>
              <a:spLocks/>
            </p:cNvSpPr>
            <p:nvPr/>
          </p:nvSpPr>
          <p:spPr>
            <a:xfrm>
              <a:off x="10433333" y="3901273"/>
              <a:ext cx="864040" cy="966269"/>
            </a:xfrm>
            <a:custGeom>
              <a:avLst/>
              <a:gdLst>
                <a:gd name="connsiteX0" fmla="*/ 2753 w 1218478"/>
                <a:gd name="connsiteY0" fmla="*/ 887809 h 1362642"/>
                <a:gd name="connsiteX1" fmla="*/ 87559 w 1218478"/>
                <a:gd name="connsiteY1" fmla="*/ 689927 h 1362642"/>
                <a:gd name="connsiteX2" fmla="*/ 223249 w 1218478"/>
                <a:gd name="connsiteY2" fmla="*/ 763426 h 1362642"/>
                <a:gd name="connsiteX3" fmla="*/ 296748 w 1218478"/>
                <a:gd name="connsiteY3" fmla="*/ 571198 h 1362642"/>
                <a:gd name="connsiteX4" fmla="*/ 296748 w 1218478"/>
                <a:gd name="connsiteY4" fmla="*/ 571029 h 1362642"/>
                <a:gd name="connsiteX5" fmla="*/ 223249 w 1218478"/>
                <a:gd name="connsiteY5" fmla="*/ 378801 h 1362642"/>
                <a:gd name="connsiteX6" fmla="*/ 87559 w 1218478"/>
                <a:gd name="connsiteY6" fmla="*/ 452300 h 1362642"/>
                <a:gd name="connsiteX7" fmla="*/ 2753 w 1218478"/>
                <a:gd name="connsiteY7" fmla="*/ 254419 h 1362642"/>
                <a:gd name="connsiteX8" fmla="*/ 76252 w 1218478"/>
                <a:gd name="connsiteY8" fmla="*/ 0 h 1362642"/>
                <a:gd name="connsiteX9" fmla="*/ 1218479 w 1218478"/>
                <a:gd name="connsiteY9" fmla="*/ 0 h 1362642"/>
                <a:gd name="connsiteX10" fmla="*/ 1218309 w 1218478"/>
                <a:gd name="connsiteY10" fmla="*/ 1142058 h 1362642"/>
                <a:gd name="connsiteX11" fmla="*/ 963891 w 1218478"/>
                <a:gd name="connsiteY11" fmla="*/ 1068559 h 1362642"/>
                <a:gd name="connsiteX12" fmla="*/ 766009 w 1218478"/>
                <a:gd name="connsiteY12" fmla="*/ 1153365 h 1362642"/>
                <a:gd name="connsiteX13" fmla="*/ 839508 w 1218478"/>
                <a:gd name="connsiteY13" fmla="*/ 1289055 h 1362642"/>
                <a:gd name="connsiteX14" fmla="*/ 647281 w 1218478"/>
                <a:gd name="connsiteY14" fmla="*/ 1362554 h 1362642"/>
                <a:gd name="connsiteX15" fmla="*/ 647111 w 1218478"/>
                <a:gd name="connsiteY15" fmla="*/ 1362554 h 1362642"/>
                <a:gd name="connsiteX16" fmla="*/ 454883 w 1218478"/>
                <a:gd name="connsiteY16" fmla="*/ 1289055 h 1362642"/>
                <a:gd name="connsiteX17" fmla="*/ 528382 w 1218478"/>
                <a:gd name="connsiteY17" fmla="*/ 1153365 h 1362642"/>
                <a:gd name="connsiteX18" fmla="*/ 330501 w 1218478"/>
                <a:gd name="connsiteY18" fmla="*/ 1068559 h 1362642"/>
                <a:gd name="connsiteX19" fmla="*/ 76082 w 1218478"/>
                <a:gd name="connsiteY19" fmla="*/ 1142058 h 1362642"/>
                <a:gd name="connsiteX20" fmla="*/ 2753 w 1218478"/>
                <a:gd name="connsiteY20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8478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9660190-DBCD-077C-0FD8-0DAAC26433DE}"/>
                </a:ext>
              </a:extLst>
            </p:cNvPr>
            <p:cNvSpPr>
              <a:spLocks/>
            </p:cNvSpPr>
            <p:nvPr/>
          </p:nvSpPr>
          <p:spPr>
            <a:xfrm>
              <a:off x="10051132" y="4969890"/>
              <a:ext cx="966269" cy="864041"/>
            </a:xfrm>
            <a:custGeom>
              <a:avLst/>
              <a:gdLst>
                <a:gd name="connsiteX0" fmla="*/ 1108393 w 1362642"/>
                <a:gd name="connsiteY0" fmla="*/ 2753 h 1218479"/>
                <a:gd name="connsiteX1" fmla="*/ 910512 w 1362642"/>
                <a:gd name="connsiteY1" fmla="*/ 87559 h 1218479"/>
                <a:gd name="connsiteX2" fmla="*/ 984011 w 1362642"/>
                <a:gd name="connsiteY2" fmla="*/ 223249 h 1218479"/>
                <a:gd name="connsiteX3" fmla="*/ 791783 w 1362642"/>
                <a:gd name="connsiteY3" fmla="*/ 296748 h 1218479"/>
                <a:gd name="connsiteX4" fmla="*/ 791614 w 1362642"/>
                <a:gd name="connsiteY4" fmla="*/ 296748 h 1218479"/>
                <a:gd name="connsiteX5" fmla="*/ 599386 w 1362642"/>
                <a:gd name="connsiteY5" fmla="*/ 223249 h 1218479"/>
                <a:gd name="connsiteX6" fmla="*/ 672885 w 1362642"/>
                <a:gd name="connsiteY6" fmla="*/ 87559 h 1218479"/>
                <a:gd name="connsiteX7" fmla="*/ 475003 w 1362642"/>
                <a:gd name="connsiteY7" fmla="*/ 2753 h 1218479"/>
                <a:gd name="connsiteX8" fmla="*/ 220585 w 1362642"/>
                <a:gd name="connsiteY8" fmla="*/ 76252 h 1218479"/>
                <a:gd name="connsiteX9" fmla="*/ 294083 w 1362642"/>
                <a:gd name="connsiteY9" fmla="*/ 330670 h 1218479"/>
                <a:gd name="connsiteX10" fmla="*/ 209277 w 1362642"/>
                <a:gd name="connsiteY10" fmla="*/ 528552 h 1218479"/>
                <a:gd name="connsiteX11" fmla="*/ 73587 w 1362642"/>
                <a:gd name="connsiteY11" fmla="*/ 455053 h 1218479"/>
                <a:gd name="connsiteX12" fmla="*/ 88 w 1362642"/>
                <a:gd name="connsiteY12" fmla="*/ 647281 h 1218479"/>
                <a:gd name="connsiteX13" fmla="*/ 88 w 1362642"/>
                <a:gd name="connsiteY13" fmla="*/ 647450 h 1218479"/>
                <a:gd name="connsiteX14" fmla="*/ 73587 w 1362642"/>
                <a:gd name="connsiteY14" fmla="*/ 839678 h 1218479"/>
                <a:gd name="connsiteX15" fmla="*/ 209277 w 1362642"/>
                <a:gd name="connsiteY15" fmla="*/ 766179 h 1218479"/>
                <a:gd name="connsiteX16" fmla="*/ 294083 w 1362642"/>
                <a:gd name="connsiteY16" fmla="*/ 964060 h 1218479"/>
                <a:gd name="connsiteX17" fmla="*/ 220585 w 1362642"/>
                <a:gd name="connsiteY17" fmla="*/ 1218479 h 1218479"/>
                <a:gd name="connsiteX18" fmla="*/ 1362642 w 1362642"/>
                <a:gd name="connsiteY18" fmla="*/ 1218309 h 1218479"/>
                <a:gd name="connsiteX19" fmla="*/ 1362642 w 1362642"/>
                <a:gd name="connsiteY19" fmla="*/ 76082 h 1218479"/>
                <a:gd name="connsiteX20" fmla="*/ 1108393 w 1362642"/>
                <a:gd name="connsiteY20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62642" h="1218479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2" y="1218309"/>
                  </a:lnTo>
                  <a:lnTo>
                    <a:pt x="1362642" y="76082"/>
                  </a:ln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73A684FC-AAEE-C66A-9718-0846995F2A82}"/>
                </a:ext>
              </a:extLst>
            </p:cNvPr>
            <p:cNvSpPr>
              <a:spLocks/>
            </p:cNvSpPr>
            <p:nvPr/>
          </p:nvSpPr>
          <p:spPr>
            <a:xfrm>
              <a:off x="9397423" y="4867542"/>
              <a:ext cx="864040" cy="966269"/>
            </a:xfrm>
            <a:custGeom>
              <a:avLst/>
              <a:gdLst>
                <a:gd name="connsiteX0" fmla="*/ 1215726 w 1218478"/>
                <a:gd name="connsiteY0" fmla="*/ 1108393 h 1362642"/>
                <a:gd name="connsiteX1" fmla="*/ 1130920 w 1218478"/>
                <a:gd name="connsiteY1" fmla="*/ 910512 h 1362642"/>
                <a:gd name="connsiteX2" fmla="*/ 995230 w 1218478"/>
                <a:gd name="connsiteY2" fmla="*/ 984011 h 1362642"/>
                <a:gd name="connsiteX3" fmla="*/ 921731 w 1218478"/>
                <a:gd name="connsiteY3" fmla="*/ 791783 h 1362642"/>
                <a:gd name="connsiteX4" fmla="*/ 921731 w 1218478"/>
                <a:gd name="connsiteY4" fmla="*/ 791614 h 1362642"/>
                <a:gd name="connsiteX5" fmla="*/ 995230 w 1218478"/>
                <a:gd name="connsiteY5" fmla="*/ 599386 h 1362642"/>
                <a:gd name="connsiteX6" fmla="*/ 1130920 w 1218478"/>
                <a:gd name="connsiteY6" fmla="*/ 672885 h 1362642"/>
                <a:gd name="connsiteX7" fmla="*/ 1215726 w 1218478"/>
                <a:gd name="connsiteY7" fmla="*/ 475003 h 1362642"/>
                <a:gd name="connsiteX8" fmla="*/ 1142227 w 1218478"/>
                <a:gd name="connsiteY8" fmla="*/ 220585 h 1362642"/>
                <a:gd name="connsiteX9" fmla="*/ 887809 w 1218478"/>
                <a:gd name="connsiteY9" fmla="*/ 294083 h 1362642"/>
                <a:gd name="connsiteX10" fmla="*/ 689927 w 1218478"/>
                <a:gd name="connsiteY10" fmla="*/ 209277 h 1362642"/>
                <a:gd name="connsiteX11" fmla="*/ 763426 w 1218478"/>
                <a:gd name="connsiteY11" fmla="*/ 73587 h 1362642"/>
                <a:gd name="connsiteX12" fmla="*/ 571198 w 1218478"/>
                <a:gd name="connsiteY12" fmla="*/ 88 h 1362642"/>
                <a:gd name="connsiteX13" fmla="*/ 571029 w 1218478"/>
                <a:gd name="connsiteY13" fmla="*/ 88 h 1362642"/>
                <a:gd name="connsiteX14" fmla="*/ 378801 w 1218478"/>
                <a:gd name="connsiteY14" fmla="*/ 73587 h 1362642"/>
                <a:gd name="connsiteX15" fmla="*/ 452300 w 1218478"/>
                <a:gd name="connsiteY15" fmla="*/ 209277 h 1362642"/>
                <a:gd name="connsiteX16" fmla="*/ 254419 w 1218478"/>
                <a:gd name="connsiteY16" fmla="*/ 294083 h 1362642"/>
                <a:gd name="connsiteX17" fmla="*/ 0 w 1218478"/>
                <a:gd name="connsiteY17" fmla="*/ 220585 h 1362642"/>
                <a:gd name="connsiteX18" fmla="*/ 170 w 1218478"/>
                <a:gd name="connsiteY18" fmla="*/ 1362642 h 1362642"/>
                <a:gd name="connsiteX19" fmla="*/ 1142397 w 1218478"/>
                <a:gd name="connsiteY19" fmla="*/ 1362642 h 1362642"/>
                <a:gd name="connsiteX20" fmla="*/ 1215726 w 1218478"/>
                <a:gd name="connsiteY20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8478" h="1362642">
                  <a:moveTo>
                    <a:pt x="1215726" y="1108393"/>
                  </a:moveTo>
                  <a:cubicBezTo>
                    <a:pt x="1227034" y="1006626"/>
                    <a:pt x="1204419" y="910512"/>
                    <a:pt x="1130920" y="910512"/>
                  </a:cubicBezTo>
                  <a:cubicBezTo>
                    <a:pt x="1057421" y="910512"/>
                    <a:pt x="1074382" y="984011"/>
                    <a:pt x="995230" y="984011"/>
                  </a:cubicBezTo>
                  <a:cubicBezTo>
                    <a:pt x="916077" y="984011"/>
                    <a:pt x="921731" y="791783"/>
                    <a:pt x="921731" y="791783"/>
                  </a:cubicBezTo>
                  <a:lnTo>
                    <a:pt x="921731" y="791614"/>
                  </a:lnTo>
                  <a:cubicBezTo>
                    <a:pt x="921731" y="791614"/>
                    <a:pt x="916077" y="599386"/>
                    <a:pt x="995230" y="599386"/>
                  </a:cubicBezTo>
                  <a:cubicBezTo>
                    <a:pt x="1074382" y="599386"/>
                    <a:pt x="1057421" y="672885"/>
                    <a:pt x="1130920" y="672885"/>
                  </a:cubicBezTo>
                  <a:cubicBezTo>
                    <a:pt x="1204419" y="672885"/>
                    <a:pt x="1227034" y="576771"/>
                    <a:pt x="1215726" y="475003"/>
                  </a:cubicBezTo>
                  <a:cubicBezTo>
                    <a:pt x="1204419" y="373236"/>
                    <a:pt x="1142227" y="220585"/>
                    <a:pt x="1142227" y="220585"/>
                  </a:cubicBezTo>
                  <a:cubicBezTo>
                    <a:pt x="1142227" y="220585"/>
                    <a:pt x="989576" y="282776"/>
                    <a:pt x="887809" y="294083"/>
                  </a:cubicBezTo>
                  <a:cubicBezTo>
                    <a:pt x="786041" y="305391"/>
                    <a:pt x="689927" y="282776"/>
                    <a:pt x="689927" y="209277"/>
                  </a:cubicBezTo>
                  <a:cubicBezTo>
                    <a:pt x="689927" y="135778"/>
                    <a:pt x="763426" y="152740"/>
                    <a:pt x="763426" y="73587"/>
                  </a:cubicBezTo>
                  <a:cubicBezTo>
                    <a:pt x="763426" y="-5565"/>
                    <a:pt x="571198" y="88"/>
                    <a:pt x="571198" y="88"/>
                  </a:cubicBezTo>
                  <a:lnTo>
                    <a:pt x="571029" y="88"/>
                  </a:lnTo>
                  <a:cubicBezTo>
                    <a:pt x="571029" y="88"/>
                    <a:pt x="378801" y="-5565"/>
                    <a:pt x="378801" y="73587"/>
                  </a:cubicBezTo>
                  <a:cubicBezTo>
                    <a:pt x="378801" y="152740"/>
                    <a:pt x="452300" y="135778"/>
                    <a:pt x="452300" y="209277"/>
                  </a:cubicBezTo>
                  <a:cubicBezTo>
                    <a:pt x="452300" y="282776"/>
                    <a:pt x="356186" y="305391"/>
                    <a:pt x="254419" y="294083"/>
                  </a:cubicBezTo>
                  <a:cubicBezTo>
                    <a:pt x="152651" y="282776"/>
                    <a:pt x="0" y="220585"/>
                    <a:pt x="0" y="220585"/>
                  </a:cubicBezTo>
                  <a:lnTo>
                    <a:pt x="170" y="1362642"/>
                  </a:lnTo>
                  <a:lnTo>
                    <a:pt x="1142397" y="1362642"/>
                  </a:lnTo>
                  <a:cubicBezTo>
                    <a:pt x="1142397" y="1362642"/>
                    <a:pt x="1204419" y="1210161"/>
                    <a:pt x="1215726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89AF0EE6-64AA-DBD3-7BED-8B567C9E9ED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86589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uzzles, piece, jigsaw</a:t>
            </a:r>
          </a:p>
        </p:txBody>
      </p:sp>
    </p:spTree>
    <p:extLst>
      <p:ext uri="{BB962C8B-B14F-4D97-AF65-F5344CB8AC3E}">
        <p14:creationId xmlns:p14="http://schemas.microsoft.com/office/powerpoint/2010/main" val="2487651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